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8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54" r:id="rId4"/>
    <p:sldMasterId id="2147483758" r:id="rId5"/>
    <p:sldMasterId id="2147483755" r:id="rId6"/>
    <p:sldMasterId id="2147483765" r:id="rId7"/>
    <p:sldMasterId id="2147483769" r:id="rId8"/>
    <p:sldMasterId id="2147483773" r:id="rId9"/>
    <p:sldMasterId id="2147483778" r:id="rId10"/>
  </p:sldMasterIdLst>
  <p:notesMasterIdLst>
    <p:notesMasterId r:id="rId22"/>
  </p:notesMasterIdLst>
  <p:sldIdLst>
    <p:sldId id="256" r:id="rId11"/>
    <p:sldId id="383" r:id="rId12"/>
    <p:sldId id="387" r:id="rId13"/>
    <p:sldId id="359" r:id="rId14"/>
    <p:sldId id="377" r:id="rId15"/>
    <p:sldId id="369" r:id="rId16"/>
    <p:sldId id="371" r:id="rId17"/>
    <p:sldId id="380" r:id="rId18"/>
    <p:sldId id="370" r:id="rId19"/>
    <p:sldId id="385" r:id="rId20"/>
    <p:sldId id="389" r:id="rId21"/>
  </p:sldIdLst>
  <p:sldSz cx="12192000" cy="6858000"/>
  <p:notesSz cx="6858000" cy="9144000"/>
  <p:custDataLst>
    <p:tags r:id="rId2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ne Juric Sørensen" initials="LJS" lastIdx="21" clrIdx="0">
    <p:extLst>
      <p:ext uri="{19B8F6BF-5375-455C-9EA6-DF929625EA0E}">
        <p15:presenceInfo xmlns:p15="http://schemas.microsoft.com/office/powerpoint/2012/main" userId="S::lojs@aarhus.dk::1e390275-1c0b-4d0d-83df-e2470c1c9c2e" providerId="AD"/>
      </p:ext>
    </p:extLst>
  </p:cmAuthor>
  <p:cmAuthor id="2" name="Birgitte Mouritzen" initials="BM" lastIdx="42" clrIdx="1">
    <p:extLst>
      <p:ext uri="{19B8F6BF-5375-455C-9EA6-DF929625EA0E}">
        <p15:presenceInfo xmlns:p15="http://schemas.microsoft.com/office/powerpoint/2012/main" userId="S::mobir@aarhus.dk::767ceb69-9d8c-4daa-896e-a51f427402a1" providerId="AD"/>
      </p:ext>
    </p:extLst>
  </p:cmAuthor>
  <p:cmAuthor id="3" name="Anne Østergaard Tind" initials="AØT" lastIdx="11" clrIdx="2">
    <p:extLst>
      <p:ext uri="{19B8F6BF-5375-455C-9EA6-DF929625EA0E}">
        <p15:presenceInfo xmlns:p15="http://schemas.microsoft.com/office/powerpoint/2012/main" userId="S::anosti@aarhus.dk::24ffbbd7-d6f4-44ab-b3df-c987e5ba342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A6158"/>
    <a:srgbClr val="2E419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6C421F-DC68-EF57-DEE8-4094A6AA9E6E}" v="3" dt="2020-06-19T07:17:43.956"/>
    <p1510:client id="{BE06385F-1B11-B962-F045-7644736A3E3F}" v="62" dt="2020-03-03T14:14:34.013"/>
    <p1510:client id="{D58584BF-623E-405D-B4C7-739BD2518806}" v="4" dt="2020-03-03T17:52:22.8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 Østergaard Tind" userId="S::anosti@aarhus.dk::24ffbbd7-d6f4-44ab-b3df-c987e5ba342c" providerId="AD" clId="Web-{E92A7AD6-9257-24FD-21E2-E4E2CBF23AE3}"/>
    <pc:docChg chg="modSld">
      <pc:chgData name="Anne Østergaard Tind" userId="S::anosti@aarhus.dk::24ffbbd7-d6f4-44ab-b3df-c987e5ba342c" providerId="AD" clId="Web-{E92A7AD6-9257-24FD-21E2-E4E2CBF23AE3}" dt="2020-03-03T09:01:53.499" v="0" actId="20577"/>
      <pc:docMkLst>
        <pc:docMk/>
      </pc:docMkLst>
      <pc:sldChg chg="modSp">
        <pc:chgData name="Anne Østergaard Tind" userId="S::anosti@aarhus.dk::24ffbbd7-d6f4-44ab-b3df-c987e5ba342c" providerId="AD" clId="Web-{E92A7AD6-9257-24FD-21E2-E4E2CBF23AE3}" dt="2020-03-03T09:01:53.499" v="0" actId="20577"/>
        <pc:sldMkLst>
          <pc:docMk/>
          <pc:sldMk cId="3363388815" sldId="385"/>
        </pc:sldMkLst>
        <pc:spChg chg="mod">
          <ac:chgData name="Anne Østergaard Tind" userId="S::anosti@aarhus.dk::24ffbbd7-d6f4-44ab-b3df-c987e5ba342c" providerId="AD" clId="Web-{E92A7AD6-9257-24FD-21E2-E4E2CBF23AE3}" dt="2020-03-03T09:01:53.499" v="0" actId="20577"/>
          <ac:spMkLst>
            <pc:docMk/>
            <pc:sldMk cId="3363388815" sldId="385"/>
            <ac:spMk id="3" creationId="{CCB50DAD-9D98-4982-A665-6B3600BFEE7B}"/>
          </ac:spMkLst>
        </pc:spChg>
      </pc:sldChg>
    </pc:docChg>
  </pc:docChgLst>
  <pc:docChgLst>
    <pc:chgData name="Birgitte Mouritzen" userId="S::mobir@aarhus.dk::767ceb69-9d8c-4daa-896e-a51f427402a1" providerId="AD" clId="Web-{A76C421F-DC68-EF57-DEE8-4094A6AA9E6E}"/>
    <pc:docChg chg="modSld">
      <pc:chgData name="Birgitte Mouritzen" userId="S::mobir@aarhus.dk::767ceb69-9d8c-4daa-896e-a51f427402a1" providerId="AD" clId="Web-{A76C421F-DC68-EF57-DEE8-4094A6AA9E6E}" dt="2020-06-19T07:17:41.534" v="1" actId="20577"/>
      <pc:docMkLst>
        <pc:docMk/>
      </pc:docMkLst>
      <pc:sldChg chg="modSp">
        <pc:chgData name="Birgitte Mouritzen" userId="S::mobir@aarhus.dk::767ceb69-9d8c-4daa-896e-a51f427402a1" providerId="AD" clId="Web-{A76C421F-DC68-EF57-DEE8-4094A6AA9E6E}" dt="2020-06-19T07:17:41.534" v="1" actId="20577"/>
        <pc:sldMkLst>
          <pc:docMk/>
          <pc:sldMk cId="981833228" sldId="380"/>
        </pc:sldMkLst>
        <pc:spChg chg="mod">
          <ac:chgData name="Birgitte Mouritzen" userId="S::mobir@aarhus.dk::767ceb69-9d8c-4daa-896e-a51f427402a1" providerId="AD" clId="Web-{A76C421F-DC68-EF57-DEE8-4094A6AA9E6E}" dt="2020-06-19T07:17:41.534" v="1" actId="20577"/>
          <ac:spMkLst>
            <pc:docMk/>
            <pc:sldMk cId="981833228" sldId="380"/>
            <ac:spMk id="6" creationId="{BCA76609-043A-4052-8D62-228534291CCC}"/>
          </ac:spMkLst>
        </pc:spChg>
      </pc:sldChg>
    </pc:docChg>
  </pc:docChgLst>
  <pc:docChgLst>
    <pc:chgData name="Birgitte Mouritzen" userId="767ceb69-9d8c-4daa-896e-a51f427402a1" providerId="ADAL" clId="{B93E52C1-E25D-E440-AE8A-530095B4EBCE}"/>
    <pc:docChg chg="modSld">
      <pc:chgData name="Birgitte Mouritzen" userId="767ceb69-9d8c-4daa-896e-a51f427402a1" providerId="ADAL" clId="{B93E52C1-E25D-E440-AE8A-530095B4EBCE}" dt="2020-03-03T13:25:38.269" v="1" actId="1076"/>
      <pc:docMkLst>
        <pc:docMk/>
      </pc:docMkLst>
      <pc:sldChg chg="modSp">
        <pc:chgData name="Birgitte Mouritzen" userId="767ceb69-9d8c-4daa-896e-a51f427402a1" providerId="ADAL" clId="{B93E52C1-E25D-E440-AE8A-530095B4EBCE}" dt="2020-03-03T13:25:10.159" v="0" actId="1076"/>
        <pc:sldMkLst>
          <pc:docMk/>
          <pc:sldMk cId="1343530933" sldId="383"/>
        </pc:sldMkLst>
        <pc:spChg chg="mod">
          <ac:chgData name="Birgitte Mouritzen" userId="767ceb69-9d8c-4daa-896e-a51f427402a1" providerId="ADAL" clId="{B93E52C1-E25D-E440-AE8A-530095B4EBCE}" dt="2020-03-03T13:25:10.159" v="0" actId="1076"/>
          <ac:spMkLst>
            <pc:docMk/>
            <pc:sldMk cId="1343530933" sldId="383"/>
            <ac:spMk id="3" creationId="{3DE530BC-0AC2-4FFE-9A96-5517C02140F4}"/>
          </ac:spMkLst>
        </pc:spChg>
      </pc:sldChg>
      <pc:sldChg chg="modSp">
        <pc:chgData name="Birgitte Mouritzen" userId="767ceb69-9d8c-4daa-896e-a51f427402a1" providerId="ADAL" clId="{B93E52C1-E25D-E440-AE8A-530095B4EBCE}" dt="2020-03-03T13:25:38.269" v="1" actId="1076"/>
        <pc:sldMkLst>
          <pc:docMk/>
          <pc:sldMk cId="1678266810" sldId="387"/>
        </pc:sldMkLst>
        <pc:spChg chg="mod">
          <ac:chgData name="Birgitte Mouritzen" userId="767ceb69-9d8c-4daa-896e-a51f427402a1" providerId="ADAL" clId="{B93E52C1-E25D-E440-AE8A-530095B4EBCE}" dt="2020-03-03T13:25:38.269" v="1" actId="1076"/>
          <ac:spMkLst>
            <pc:docMk/>
            <pc:sldMk cId="1678266810" sldId="387"/>
            <ac:spMk id="4" creationId="{42883B01-2FC6-4AE2-8F35-FBD5509369C0}"/>
          </ac:spMkLst>
        </pc:spChg>
      </pc:sldChg>
    </pc:docChg>
  </pc:docChgLst>
  <pc:docChgLst>
    <pc:chgData name="Birgitte Mouritzen" userId="S::mobir@aarhus.dk::767ceb69-9d8c-4daa-896e-a51f427402a1" providerId="AD" clId="Web-{A40A3742-8553-5141-DFFD-EACABCA08904}"/>
    <pc:docChg chg="modSld">
      <pc:chgData name="Birgitte Mouritzen" userId="S::mobir@aarhus.dk::767ceb69-9d8c-4daa-896e-a51f427402a1" providerId="AD" clId="Web-{A40A3742-8553-5141-DFFD-EACABCA08904}" dt="2020-03-03T09:01:23.402" v="26" actId="20577"/>
      <pc:docMkLst>
        <pc:docMk/>
      </pc:docMkLst>
      <pc:sldChg chg="modSp">
        <pc:chgData name="Birgitte Mouritzen" userId="S::mobir@aarhus.dk::767ceb69-9d8c-4daa-896e-a51f427402a1" providerId="AD" clId="Web-{A40A3742-8553-5141-DFFD-EACABCA08904}" dt="2020-03-03T09:01:23.402" v="26" actId="20577"/>
        <pc:sldMkLst>
          <pc:docMk/>
          <pc:sldMk cId="3363388815" sldId="385"/>
        </pc:sldMkLst>
        <pc:spChg chg="mod">
          <ac:chgData name="Birgitte Mouritzen" userId="S::mobir@aarhus.dk::767ceb69-9d8c-4daa-896e-a51f427402a1" providerId="AD" clId="Web-{A40A3742-8553-5141-DFFD-EACABCA08904}" dt="2020-03-03T09:01:23.402" v="26" actId="20577"/>
          <ac:spMkLst>
            <pc:docMk/>
            <pc:sldMk cId="3363388815" sldId="385"/>
            <ac:spMk id="3" creationId="{CCB50DAD-9D98-4982-A665-6B3600BFEE7B}"/>
          </ac:spMkLst>
        </pc:spChg>
      </pc:sldChg>
    </pc:docChg>
  </pc:docChgLst>
  <pc:docChgLst>
    <pc:chgData name="Lone Juric Sørensen" userId="S::lojs@aarhus.dk::1e390275-1c0b-4d0d-83df-e2470c1c9c2e" providerId="AD" clId="Web-{D58584BF-623E-405D-B4C7-739BD2518806}"/>
    <pc:docChg chg="modSld">
      <pc:chgData name="Lone Juric Sørensen" userId="S::lojs@aarhus.dk::1e390275-1c0b-4d0d-83df-e2470c1c9c2e" providerId="AD" clId="Web-{D58584BF-623E-405D-B4C7-739BD2518806}" dt="2020-03-03T17:52:22.273" v="2" actId="20577"/>
      <pc:docMkLst>
        <pc:docMk/>
      </pc:docMkLst>
      <pc:sldChg chg="modSp">
        <pc:chgData name="Lone Juric Sørensen" userId="S::lojs@aarhus.dk::1e390275-1c0b-4d0d-83df-e2470c1c9c2e" providerId="AD" clId="Web-{D58584BF-623E-405D-B4C7-739BD2518806}" dt="2020-03-03T17:52:22.273" v="2" actId="20577"/>
        <pc:sldMkLst>
          <pc:docMk/>
          <pc:sldMk cId="3245259037" sldId="377"/>
        </pc:sldMkLst>
        <pc:spChg chg="mod">
          <ac:chgData name="Lone Juric Sørensen" userId="S::lojs@aarhus.dk::1e390275-1c0b-4d0d-83df-e2470c1c9c2e" providerId="AD" clId="Web-{D58584BF-623E-405D-B4C7-739BD2518806}" dt="2020-03-03T17:52:22.273" v="2" actId="20577"/>
          <ac:spMkLst>
            <pc:docMk/>
            <pc:sldMk cId="3245259037" sldId="377"/>
            <ac:spMk id="8" creationId="{B0494C09-EEC5-4701-A93A-11BC1BD2FF0B}"/>
          </ac:spMkLst>
        </pc:spChg>
      </pc:sldChg>
    </pc:docChg>
  </pc:docChgLst>
  <pc:docChgLst>
    <pc:chgData name="Birgitte Mouritzen" userId="S::mobir@aarhus.dk::767ceb69-9d8c-4daa-896e-a51f427402a1" providerId="AD" clId="Web-{BE06385F-1B11-B962-F045-7644736A3E3F}"/>
    <pc:docChg chg="modSld">
      <pc:chgData name="Birgitte Mouritzen" userId="S::mobir@aarhus.dk::767ceb69-9d8c-4daa-896e-a51f427402a1" providerId="AD" clId="Web-{BE06385F-1B11-B962-F045-7644736A3E3F}" dt="2020-03-03T14:14:34.013" v="59" actId="20577"/>
      <pc:docMkLst>
        <pc:docMk/>
      </pc:docMkLst>
      <pc:sldChg chg="modSp">
        <pc:chgData name="Birgitte Mouritzen" userId="S::mobir@aarhus.dk::767ceb69-9d8c-4daa-896e-a51f427402a1" providerId="AD" clId="Web-{BE06385F-1B11-B962-F045-7644736A3E3F}" dt="2020-03-03T14:14:34.013" v="59" actId="20577"/>
        <pc:sldMkLst>
          <pc:docMk/>
          <pc:sldMk cId="1343530933" sldId="383"/>
        </pc:sldMkLst>
        <pc:spChg chg="mod">
          <ac:chgData name="Birgitte Mouritzen" userId="S::mobir@aarhus.dk::767ceb69-9d8c-4daa-896e-a51f427402a1" providerId="AD" clId="Web-{BE06385F-1B11-B962-F045-7644736A3E3F}" dt="2020-03-03T14:14:34.013" v="59" actId="20577"/>
          <ac:spMkLst>
            <pc:docMk/>
            <pc:sldMk cId="1343530933" sldId="383"/>
            <ac:spMk id="3" creationId="{3DE530BC-0AC2-4FFE-9A96-5517C02140F4}"/>
          </ac:spMkLst>
        </pc:spChg>
        <pc:spChg chg="mod">
          <ac:chgData name="Birgitte Mouritzen" userId="S::mobir@aarhus.dk::767ceb69-9d8c-4daa-896e-a51f427402a1" providerId="AD" clId="Web-{BE06385F-1B11-B962-F045-7644736A3E3F}" dt="2020-03-03T14:14:23.107" v="56" actId="14100"/>
          <ac:spMkLst>
            <pc:docMk/>
            <pc:sldMk cId="1343530933" sldId="383"/>
            <ac:spMk id="5" creationId="{92DB4A22-E17C-428F-9F50-E32B6F9D9C02}"/>
          </ac:spMkLst>
        </pc:spChg>
      </pc:sldChg>
      <pc:sldChg chg="modSp">
        <pc:chgData name="Birgitte Mouritzen" userId="S::mobir@aarhus.dk::767ceb69-9d8c-4daa-896e-a51f427402a1" providerId="AD" clId="Web-{BE06385F-1B11-B962-F045-7644736A3E3F}" dt="2020-03-03T14:10:21.341" v="10" actId="20577"/>
        <pc:sldMkLst>
          <pc:docMk/>
          <pc:sldMk cId="1678266810" sldId="387"/>
        </pc:sldMkLst>
        <pc:spChg chg="mod">
          <ac:chgData name="Birgitte Mouritzen" userId="S::mobir@aarhus.dk::767ceb69-9d8c-4daa-896e-a51f427402a1" providerId="AD" clId="Web-{BE06385F-1B11-B962-F045-7644736A3E3F}" dt="2020-03-03T14:10:21.341" v="10" actId="20577"/>
          <ac:spMkLst>
            <pc:docMk/>
            <pc:sldMk cId="1678266810" sldId="387"/>
            <ac:spMk id="4" creationId="{42883B01-2FC6-4AE2-8F35-FBD5509369C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31DB5F-9528-4403-9D66-8E95D5C5F17A}" type="datetimeFigureOut">
              <a:rPr lang="da-DK" smtClean="0"/>
              <a:t>19-06-2020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5F932B-9B2E-4FC9-B86C-C7C4C037D1E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2900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5F932B-9B2E-4FC9-B86C-C7C4C037D1E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180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7D7DF-825F-4257-83C1-DEF1C0FE3D3A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6982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7D7DF-825F-4257-83C1-DEF1C0FE3D3A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19566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7D7DF-825F-4257-83C1-DEF1C0FE3D3A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712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7D7DF-825F-4257-83C1-DEF1C0FE3D3A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1253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16537636-0069-41BF-BA22-1E1FB67BB4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075" y="0"/>
            <a:ext cx="1447925" cy="10211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179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CE6FBE8A-409F-4A9E-B9BD-175075B017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0FDECCA1-3744-44BC-A2FD-C957CE886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04551" y="2338753"/>
            <a:ext cx="3314731" cy="3189023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  <p:sp>
        <p:nvSpPr>
          <p:cNvPr id="7" name="Pladsholder til billede 2">
            <a:extLst>
              <a:ext uri="{FF2B5EF4-FFF2-40B4-BE49-F238E27FC236}">
                <a16:creationId xmlns:a16="http://schemas.microsoft.com/office/drawing/2014/main" id="{876F7691-18C5-46DC-85FF-DDA8CA98C84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79844" y="1261389"/>
            <a:ext cx="2253056" cy="2167611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5199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9B37B8F6-0566-45EE-9443-64763CEBA4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22F82F86-C5FC-464B-B7D2-847069CBC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800000"/>
            <a:ext cx="10764000" cy="432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5" name="Pladsholder til tekst 7">
            <a:extLst>
              <a:ext uri="{FF2B5EF4-FFF2-40B4-BE49-F238E27FC236}">
                <a16:creationId xmlns:a16="http://schemas.microsoft.com/office/drawing/2014/main" id="{F5103786-958B-472D-B00A-017FB5A635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000" y="720000"/>
            <a:ext cx="10764000" cy="10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0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1880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B38CC833-0E2F-409C-8700-9D6E1F315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46" y="5437396"/>
            <a:ext cx="1341236" cy="12269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29774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extLst>
      <p:ext uri="{BB962C8B-B14F-4D97-AF65-F5344CB8AC3E}">
        <p14:creationId xmlns:p14="http://schemas.microsoft.com/office/powerpoint/2010/main" val="3563392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CE6FBE8A-409F-4A9E-B9BD-175075B017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0FDECCA1-3744-44BC-A2FD-C957CE886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04551" y="2338753"/>
            <a:ext cx="3314731" cy="3189023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  <p:sp>
        <p:nvSpPr>
          <p:cNvPr id="7" name="Pladsholder til billede 2">
            <a:extLst>
              <a:ext uri="{FF2B5EF4-FFF2-40B4-BE49-F238E27FC236}">
                <a16:creationId xmlns:a16="http://schemas.microsoft.com/office/drawing/2014/main" id="{876F7691-18C5-46DC-85FF-DDA8CA98C84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79844" y="1261389"/>
            <a:ext cx="2253056" cy="2167611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57805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B38CC833-0E2F-409C-8700-9D6E1F315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46" y="5437396"/>
            <a:ext cx="1341236" cy="12269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421106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extLst>
      <p:ext uri="{BB962C8B-B14F-4D97-AF65-F5344CB8AC3E}">
        <p14:creationId xmlns:p14="http://schemas.microsoft.com/office/powerpoint/2010/main" val="3505115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CE6FBE8A-409F-4A9E-B9BD-175075B017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0FDECCA1-3744-44BC-A2FD-C957CE886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04551" y="2338753"/>
            <a:ext cx="3314731" cy="3189023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  <p:sp>
        <p:nvSpPr>
          <p:cNvPr id="7" name="Pladsholder til billede 2">
            <a:extLst>
              <a:ext uri="{FF2B5EF4-FFF2-40B4-BE49-F238E27FC236}">
                <a16:creationId xmlns:a16="http://schemas.microsoft.com/office/drawing/2014/main" id="{876F7691-18C5-46DC-85FF-DDA8CA98C84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79844" y="1261389"/>
            <a:ext cx="2253056" cy="2167611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7597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16537636-0069-41BF-BA22-1E1FB67BB4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075" y="0"/>
            <a:ext cx="1447925" cy="10211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21224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504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460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BAE4C778-56B9-44FE-A9C1-29C047D419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1E45A577-1B84-4588-93B5-8753D1D2FBF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73628" y="927935"/>
            <a:ext cx="4772025" cy="4591050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844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CB2FCD8C-A463-4360-93DB-F059E7D5B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A1C5708E-E389-497A-AC7F-4D6D402490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800000"/>
            <a:ext cx="10764000" cy="432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5" name="Pladsholder til tekst 7">
            <a:extLst>
              <a:ext uri="{FF2B5EF4-FFF2-40B4-BE49-F238E27FC236}">
                <a16:creationId xmlns:a16="http://schemas.microsoft.com/office/drawing/2014/main" id="{D5534D6B-8257-43A3-A5C1-C1E00EC02A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000" y="720000"/>
            <a:ext cx="8640000" cy="10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0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82240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3D1AD01-C668-464B-A7AD-4F979F338C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8475" y="277106"/>
            <a:ext cx="1258583" cy="6637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29773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16784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BAE4C778-56B9-44FE-A9C1-29C047D419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1E45A577-1B84-4588-93B5-8753D1D2FBF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73628" y="927935"/>
            <a:ext cx="4772025" cy="4591050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6514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CB2FCD8C-A463-4360-93DB-F059E7D5B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A1C5708E-E389-497A-AC7F-4D6D402490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800000"/>
            <a:ext cx="10764000" cy="432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5" name="Pladsholder til tekst 7">
            <a:extLst>
              <a:ext uri="{FF2B5EF4-FFF2-40B4-BE49-F238E27FC236}">
                <a16:creationId xmlns:a16="http://schemas.microsoft.com/office/drawing/2014/main" id="{D5534D6B-8257-43A3-A5C1-C1E00EC02A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000" y="720000"/>
            <a:ext cx="8640000" cy="10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0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49285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BAE4C778-56B9-44FE-A9C1-29C047D419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1E45A577-1B84-4588-93B5-8753D1D2FBF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73628" y="927935"/>
            <a:ext cx="4772025" cy="4591050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04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16537636-0069-41BF-BA22-1E1FB67BB4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075" y="0"/>
            <a:ext cx="1447925" cy="10211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8559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810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BAE4C778-56B9-44FE-A9C1-29C047D419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12761" y="1881512"/>
            <a:ext cx="4305300" cy="3402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b="1">
                <a:solidFill>
                  <a:srgbClr val="2E4194"/>
                </a:solidFill>
              </a:rPr>
              <a:t>Spalte 1</a:t>
            </a:r>
          </a:p>
          <a:p>
            <a:pPr algn="just"/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r>
              <a:rPr lang="da-DK"/>
              <a:t>, </a:t>
            </a:r>
            <a:r>
              <a:rPr lang="da-DK" err="1"/>
              <a:t>consectetur</a:t>
            </a:r>
            <a:r>
              <a:rPr lang="da-DK"/>
              <a:t> </a:t>
            </a:r>
            <a:r>
              <a:rPr lang="da-DK" err="1"/>
              <a:t>adipiscing</a:t>
            </a:r>
            <a:r>
              <a:rPr lang="da-DK"/>
              <a:t> </a:t>
            </a:r>
            <a:r>
              <a:rPr lang="da-DK" err="1"/>
              <a:t>elit</a:t>
            </a:r>
            <a:r>
              <a:rPr lang="da-DK"/>
              <a:t>, </a:t>
            </a:r>
            <a:r>
              <a:rPr lang="da-DK" err="1"/>
              <a:t>sed</a:t>
            </a:r>
            <a:r>
              <a:rPr lang="da-DK"/>
              <a:t> do </a:t>
            </a:r>
            <a:r>
              <a:rPr lang="da-DK" err="1"/>
              <a:t>eiusmod</a:t>
            </a:r>
            <a:r>
              <a:rPr lang="da-DK"/>
              <a:t> </a:t>
            </a:r>
            <a:r>
              <a:rPr lang="da-DK" err="1"/>
              <a:t>tempor</a:t>
            </a:r>
            <a:r>
              <a:rPr lang="da-DK"/>
              <a:t> </a:t>
            </a:r>
            <a:r>
              <a:rPr lang="da-DK" err="1"/>
              <a:t>incididunt</a:t>
            </a:r>
            <a:r>
              <a:rPr lang="da-DK"/>
              <a:t> ut </a:t>
            </a:r>
            <a:r>
              <a:rPr lang="da-DK" err="1"/>
              <a:t>labore</a:t>
            </a:r>
            <a:r>
              <a:rPr lang="da-DK"/>
              <a:t> et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magna</a:t>
            </a:r>
            <a:r>
              <a:rPr lang="da-DK"/>
              <a:t> </a:t>
            </a:r>
            <a:r>
              <a:rPr lang="da-DK" err="1"/>
              <a:t>aliqua</a:t>
            </a:r>
            <a:r>
              <a:rPr lang="da-DK"/>
              <a:t>. Ut </a:t>
            </a:r>
            <a:r>
              <a:rPr lang="da-DK" err="1"/>
              <a:t>enim</a:t>
            </a:r>
            <a:r>
              <a:rPr lang="da-DK"/>
              <a:t> ad </a:t>
            </a:r>
            <a:r>
              <a:rPr lang="da-DK" err="1"/>
              <a:t>minim</a:t>
            </a:r>
            <a:r>
              <a:rPr lang="da-DK"/>
              <a:t> </a:t>
            </a:r>
            <a:r>
              <a:rPr lang="da-DK" err="1"/>
              <a:t>veniam</a:t>
            </a:r>
            <a:r>
              <a:rPr lang="da-DK"/>
              <a:t>, </a:t>
            </a:r>
            <a:r>
              <a:rPr lang="da-DK" err="1"/>
              <a:t>quis</a:t>
            </a:r>
            <a:r>
              <a:rPr lang="da-DK"/>
              <a:t> </a:t>
            </a:r>
            <a:r>
              <a:rPr lang="da-DK" err="1"/>
              <a:t>nostrud</a:t>
            </a:r>
            <a:r>
              <a:rPr lang="da-DK"/>
              <a:t> </a:t>
            </a:r>
            <a:r>
              <a:rPr lang="da-DK" err="1"/>
              <a:t>exercitation</a:t>
            </a:r>
            <a:r>
              <a:rPr lang="da-DK"/>
              <a:t> </a:t>
            </a:r>
            <a:r>
              <a:rPr lang="da-DK" err="1"/>
              <a:t>ullamco</a:t>
            </a:r>
            <a:r>
              <a:rPr lang="da-DK"/>
              <a:t> </a:t>
            </a:r>
            <a:r>
              <a:rPr lang="da-DK" err="1"/>
              <a:t>laboris</a:t>
            </a:r>
            <a:r>
              <a:rPr lang="da-DK"/>
              <a:t> </a:t>
            </a:r>
            <a:r>
              <a:rPr lang="da-DK" err="1"/>
              <a:t>nisi</a:t>
            </a:r>
            <a:r>
              <a:rPr lang="da-DK"/>
              <a:t> ut </a:t>
            </a:r>
            <a:r>
              <a:rPr lang="da-DK" err="1"/>
              <a:t>aliquip</a:t>
            </a:r>
            <a:r>
              <a:rPr lang="da-DK"/>
              <a:t> ex ea </a:t>
            </a:r>
            <a:r>
              <a:rPr lang="da-DK" err="1"/>
              <a:t>commodo</a:t>
            </a:r>
            <a:r>
              <a:rPr lang="da-DK"/>
              <a:t> </a:t>
            </a:r>
            <a:r>
              <a:rPr lang="da-DK" err="1"/>
              <a:t>consequat</a:t>
            </a:r>
            <a:r>
              <a:rPr lang="da-DK"/>
              <a:t>. </a:t>
            </a:r>
            <a:r>
              <a:rPr lang="da-DK" err="1"/>
              <a:t>Duis</a:t>
            </a:r>
            <a:r>
              <a:rPr lang="da-DK"/>
              <a:t> </a:t>
            </a:r>
            <a:r>
              <a:rPr lang="da-DK" err="1"/>
              <a:t>aute</a:t>
            </a:r>
            <a:r>
              <a:rPr lang="da-DK"/>
              <a:t> </a:t>
            </a:r>
            <a:r>
              <a:rPr lang="da-DK" err="1"/>
              <a:t>irure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in </a:t>
            </a:r>
            <a:r>
              <a:rPr lang="da-DK" err="1"/>
              <a:t>reprehenderit</a:t>
            </a:r>
            <a:r>
              <a:rPr lang="da-DK"/>
              <a:t> in </a:t>
            </a:r>
            <a:r>
              <a:rPr lang="da-DK" err="1"/>
              <a:t>voluptate</a:t>
            </a:r>
            <a:r>
              <a:rPr lang="da-DK"/>
              <a:t> </a:t>
            </a:r>
            <a:r>
              <a:rPr lang="da-DK" err="1"/>
              <a:t>velit</a:t>
            </a:r>
            <a:r>
              <a:rPr lang="da-DK"/>
              <a:t> esse </a:t>
            </a:r>
            <a:r>
              <a:rPr lang="da-DK" err="1"/>
              <a:t>cillum</a:t>
            </a:r>
            <a:r>
              <a:rPr lang="da-DK"/>
              <a:t> </a:t>
            </a:r>
            <a:r>
              <a:rPr lang="da-DK" err="1"/>
              <a:t>dolore</a:t>
            </a:r>
            <a:r>
              <a:rPr lang="da-DK"/>
              <a:t> </a:t>
            </a:r>
            <a:r>
              <a:rPr lang="da-DK" err="1"/>
              <a:t>eu</a:t>
            </a:r>
            <a:r>
              <a:rPr lang="da-DK"/>
              <a:t> </a:t>
            </a:r>
            <a:r>
              <a:rPr lang="da-DK" err="1"/>
              <a:t>fugiat</a:t>
            </a:r>
            <a:r>
              <a:rPr lang="da-DK"/>
              <a:t> </a:t>
            </a:r>
            <a:r>
              <a:rPr lang="da-DK" err="1"/>
              <a:t>nulla</a:t>
            </a:r>
            <a:r>
              <a:rPr lang="da-DK"/>
              <a:t> </a:t>
            </a:r>
            <a:r>
              <a:rPr lang="da-DK" err="1"/>
              <a:t>pariatur</a:t>
            </a:r>
            <a:r>
              <a:rPr lang="da-DK"/>
              <a:t>. </a:t>
            </a:r>
            <a:r>
              <a:rPr lang="da-DK" err="1"/>
              <a:t>Excepteur</a:t>
            </a:r>
            <a:r>
              <a:rPr lang="da-DK"/>
              <a:t> sint </a:t>
            </a:r>
            <a:r>
              <a:rPr lang="da-DK" err="1"/>
              <a:t>occaecat</a:t>
            </a:r>
            <a:r>
              <a:rPr lang="da-DK"/>
              <a:t> </a:t>
            </a:r>
            <a:r>
              <a:rPr lang="da-DK" err="1"/>
              <a:t>cupidatat</a:t>
            </a:r>
            <a:r>
              <a:rPr lang="da-DK"/>
              <a:t> non </a:t>
            </a:r>
            <a:r>
              <a:rPr lang="da-DK" err="1"/>
              <a:t>proident</a:t>
            </a:r>
            <a:r>
              <a:rPr lang="da-DK"/>
              <a:t>, </a:t>
            </a:r>
            <a:r>
              <a:rPr lang="da-DK" err="1"/>
              <a:t>sunt</a:t>
            </a:r>
            <a:r>
              <a:rPr lang="da-DK"/>
              <a:t> in culpa </a:t>
            </a:r>
            <a:r>
              <a:rPr lang="da-DK" err="1"/>
              <a:t>qui</a:t>
            </a:r>
            <a:r>
              <a:rPr lang="da-DK"/>
              <a:t> </a:t>
            </a:r>
            <a:r>
              <a:rPr lang="da-DK" err="1"/>
              <a:t>officia</a:t>
            </a:r>
            <a:r>
              <a:rPr lang="da-DK"/>
              <a:t> </a:t>
            </a:r>
            <a:r>
              <a:rPr lang="da-DK" err="1"/>
              <a:t>deserunt</a:t>
            </a:r>
            <a:r>
              <a:rPr lang="da-DK"/>
              <a:t> </a:t>
            </a:r>
            <a:r>
              <a:rPr lang="da-DK" err="1"/>
              <a:t>mollit</a:t>
            </a:r>
            <a:r>
              <a:rPr lang="da-DK"/>
              <a:t> </a:t>
            </a:r>
            <a:r>
              <a:rPr lang="da-DK" err="1"/>
              <a:t>anim</a:t>
            </a:r>
            <a:r>
              <a:rPr lang="da-DK"/>
              <a:t> id </a:t>
            </a:r>
            <a:r>
              <a:rPr lang="da-DK" err="1"/>
              <a:t>est</a:t>
            </a:r>
            <a:r>
              <a:rPr lang="da-DK"/>
              <a:t> </a:t>
            </a:r>
            <a:r>
              <a:rPr lang="da-DK" err="1"/>
              <a:t>laborum</a:t>
            </a:r>
            <a:r>
              <a:rPr lang="da-DK"/>
              <a:t>.</a:t>
            </a:r>
          </a:p>
        </p:txBody>
      </p:sp>
      <p:sp>
        <p:nvSpPr>
          <p:cNvPr id="5" name="Pladsholder til billede 2">
            <a:extLst>
              <a:ext uri="{FF2B5EF4-FFF2-40B4-BE49-F238E27FC236}">
                <a16:creationId xmlns:a16="http://schemas.microsoft.com/office/drawing/2014/main" id="{1E45A577-1B84-4588-93B5-8753D1D2FBF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73628" y="927935"/>
            <a:ext cx="4772025" cy="4591050"/>
          </a:xfrm>
          <a:prstGeom prst="ellipse">
            <a:avLst/>
          </a:prstGeom>
          <a:ln w="57150">
            <a:solidFill>
              <a:srgbClr val="2E4194"/>
            </a:solidFill>
          </a:ln>
        </p:spPr>
        <p:txBody>
          <a:bodyPr/>
          <a:lstStyle>
            <a:lvl1pPr marL="0" indent="0" algn="ctr">
              <a:buNone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Indsæt bille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48252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CB2FCD8C-A463-4360-93DB-F059E7D5B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dsholder til tekst 6">
            <a:extLst>
              <a:ext uri="{FF2B5EF4-FFF2-40B4-BE49-F238E27FC236}">
                <a16:creationId xmlns:a16="http://schemas.microsoft.com/office/drawing/2014/main" id="{A1C5708E-E389-497A-AC7F-4D6D402490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800000"/>
            <a:ext cx="10764000" cy="432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5" name="Pladsholder til tekst 7">
            <a:extLst>
              <a:ext uri="{FF2B5EF4-FFF2-40B4-BE49-F238E27FC236}">
                <a16:creationId xmlns:a16="http://schemas.microsoft.com/office/drawing/2014/main" id="{D5534D6B-8257-43A3-A5C1-C1E00EC02A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000" y="720000"/>
            <a:ext cx="8640000" cy="10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0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4543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E40DBFA6-5DC8-4118-A5FC-CFAD3AA0EC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3174985"/>
            <a:ext cx="9601039" cy="43461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70A37605-3838-49FE-B5A8-BF09E0E25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233613"/>
            <a:ext cx="9601200" cy="8794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6600" b="1">
                <a:solidFill>
                  <a:srgbClr val="31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B38CC833-0E2F-409C-8700-9D6E1F315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46" y="5437396"/>
            <a:ext cx="1341236" cy="12269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2792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851A24AD-CF0B-4496-986B-852F2320D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99" y="363588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OVERSKRIFT</a:t>
            </a:r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141EFB91-37F1-4241-8B6D-6EA93E3323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860100"/>
            <a:ext cx="9600878" cy="4546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>
                <a:solidFill>
                  <a:srgbClr val="2E41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/>
              <a:t>Undertitel</a:t>
            </a:r>
          </a:p>
        </p:txBody>
      </p:sp>
    </p:spTree>
    <p:extLst>
      <p:ext uri="{BB962C8B-B14F-4D97-AF65-F5344CB8AC3E}">
        <p14:creationId xmlns:p14="http://schemas.microsoft.com/office/powerpoint/2010/main" val="287886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4.pn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6.png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6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6.png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6.png"/><Relationship Id="rId4" Type="http://schemas.openxmlformats.org/officeDocument/2006/relationships/theme" Target="../theme/theme5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6.vml"/><Relationship Id="rId11" Type="http://schemas.openxmlformats.org/officeDocument/2006/relationships/image" Target="../media/image4.png"/><Relationship Id="rId5" Type="http://schemas.openxmlformats.org/officeDocument/2006/relationships/theme" Target="../theme/theme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29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4.png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815AEF-6BED-4E72-81B7-3B1128B8A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80171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815AEF-6BED-4E72-81B7-3B1128B8A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lede 6" descr="Et billede, der indeholder træ&#10;&#10;Automatisk genereret beskrivelse">
            <a:extLst>
              <a:ext uri="{FF2B5EF4-FFF2-40B4-BE49-F238E27FC236}">
                <a16:creationId xmlns:a16="http://schemas.microsoft.com/office/drawing/2014/main" id="{3187AE8B-298C-4D96-B49D-6271598B697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22" y="3783269"/>
            <a:ext cx="885269" cy="1507749"/>
          </a:xfrm>
          <a:prstGeom prst="rect">
            <a:avLst/>
          </a:prstGeom>
        </p:spPr>
      </p:pic>
      <p:grpSp>
        <p:nvGrpSpPr>
          <p:cNvPr id="8" name="Gruppe 7">
            <a:extLst>
              <a:ext uri="{FF2B5EF4-FFF2-40B4-BE49-F238E27FC236}">
                <a16:creationId xmlns:a16="http://schemas.microsoft.com/office/drawing/2014/main" id="{8442C576-F801-457E-BDA4-A2F3F8B26E56}"/>
              </a:ext>
            </a:extLst>
          </p:cNvPr>
          <p:cNvGrpSpPr/>
          <p:nvPr userDrawn="1"/>
        </p:nvGrpSpPr>
        <p:grpSpPr>
          <a:xfrm>
            <a:off x="105570" y="5168913"/>
            <a:ext cx="1547023" cy="1547023"/>
            <a:chOff x="105570" y="5168913"/>
            <a:chExt cx="1547023" cy="154702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EC8F511-6283-47BB-934D-7358F87F444D}"/>
                </a:ext>
              </a:extLst>
            </p:cNvPr>
            <p:cNvSpPr/>
            <p:nvPr/>
          </p:nvSpPr>
          <p:spPr>
            <a:xfrm>
              <a:off x="105570" y="5168913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Tekstfelt 9">
              <a:extLst>
                <a:ext uri="{FF2B5EF4-FFF2-40B4-BE49-F238E27FC236}">
                  <a16:creationId xmlns:a16="http://schemas.microsoft.com/office/drawing/2014/main" id="{BBFAE627-E4FB-45AE-AA58-699AB63B30F2}"/>
                </a:ext>
              </a:extLst>
            </p:cNvPr>
            <p:cNvSpPr txBox="1"/>
            <p:nvPr/>
          </p:nvSpPr>
          <p:spPr>
            <a:xfrm>
              <a:off x="105570" y="5216905"/>
              <a:ext cx="15470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0">
                  <a:solidFill>
                    <a:schemeClr val="bg1"/>
                  </a:solidFill>
                  <a:latin typeface="Berlin Sans FB Demi" panose="020E0802020502020306" pitchFamily="34" charset="0"/>
                </a:rPr>
                <a:t>1:1</a:t>
              </a:r>
            </a:p>
          </p:txBody>
        </p:sp>
      </p:grpSp>
      <p:sp>
        <p:nvSpPr>
          <p:cNvPr id="11" name="Tekstfelt 10">
            <a:extLst>
              <a:ext uri="{FF2B5EF4-FFF2-40B4-BE49-F238E27FC236}">
                <a16:creationId xmlns:a16="http://schemas.microsoft.com/office/drawing/2014/main" id="{BFB38BDA-78B7-48C2-B05A-23D60BAFD545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CFBF424-2656-4128-9668-1E1EE358A417}"/>
              </a:ext>
            </a:extLst>
          </p:cNvPr>
          <p:cNvSpPr/>
          <p:nvPr userDrawn="1"/>
        </p:nvSpPr>
        <p:spPr>
          <a:xfrm>
            <a:off x="1652592" y="5942424"/>
            <a:ext cx="10296752" cy="45719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6E145E15-404B-472C-A901-B1A5B939140A}"/>
              </a:ext>
            </a:extLst>
          </p:cNvPr>
          <p:cNvSpPr txBox="1"/>
          <p:nvPr userDrawn="1"/>
        </p:nvSpPr>
        <p:spPr>
          <a:xfrm>
            <a:off x="1652591" y="5665425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>
                <a:solidFill>
                  <a:srgbClr val="2E4194"/>
                </a:solidFill>
                <a:latin typeface="Berlin Sans FB Demi" panose="020E0802020502020306" pitchFamily="34" charset="0"/>
              </a:rPr>
              <a:t>EN TIL EN – EN TIL ALLE</a:t>
            </a: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31737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51" r:id="rId2"/>
    <p:sldLayoutId id="214748375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F6FA98-5899-4A8D-BAEB-D173F3E97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62691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F6FA98-5899-4A8D-BAEB-D173F3E97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e 7">
            <a:extLst>
              <a:ext uri="{FF2B5EF4-FFF2-40B4-BE49-F238E27FC236}">
                <a16:creationId xmlns:a16="http://schemas.microsoft.com/office/drawing/2014/main" id="{8442C576-F801-457E-BDA4-A2F3F8B26E56}"/>
              </a:ext>
            </a:extLst>
          </p:cNvPr>
          <p:cNvGrpSpPr/>
          <p:nvPr userDrawn="1"/>
        </p:nvGrpSpPr>
        <p:grpSpPr>
          <a:xfrm>
            <a:off x="105570" y="5168913"/>
            <a:ext cx="1547023" cy="1547023"/>
            <a:chOff x="105570" y="5168913"/>
            <a:chExt cx="1547023" cy="154702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EC8F511-6283-47BB-934D-7358F87F444D}"/>
                </a:ext>
              </a:extLst>
            </p:cNvPr>
            <p:cNvSpPr/>
            <p:nvPr/>
          </p:nvSpPr>
          <p:spPr>
            <a:xfrm>
              <a:off x="105570" y="5168913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Tekstfelt 9">
              <a:extLst>
                <a:ext uri="{FF2B5EF4-FFF2-40B4-BE49-F238E27FC236}">
                  <a16:creationId xmlns:a16="http://schemas.microsoft.com/office/drawing/2014/main" id="{BBFAE627-E4FB-45AE-AA58-699AB63B30F2}"/>
                </a:ext>
              </a:extLst>
            </p:cNvPr>
            <p:cNvSpPr txBox="1"/>
            <p:nvPr/>
          </p:nvSpPr>
          <p:spPr>
            <a:xfrm>
              <a:off x="105570" y="5216905"/>
              <a:ext cx="15470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0">
                  <a:solidFill>
                    <a:schemeClr val="bg1"/>
                  </a:solidFill>
                  <a:latin typeface="Berlin Sans FB Demi" panose="020E0802020502020306" pitchFamily="34" charset="0"/>
                </a:rPr>
                <a:t>1:1</a:t>
              </a:r>
            </a:p>
          </p:txBody>
        </p:sp>
      </p:grpSp>
      <p:sp>
        <p:nvSpPr>
          <p:cNvPr id="11" name="Tekstfelt 10">
            <a:extLst>
              <a:ext uri="{FF2B5EF4-FFF2-40B4-BE49-F238E27FC236}">
                <a16:creationId xmlns:a16="http://schemas.microsoft.com/office/drawing/2014/main" id="{BFB38BDA-78B7-48C2-B05A-23D60BAFD545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CFBF424-2656-4128-9668-1E1EE358A417}"/>
              </a:ext>
            </a:extLst>
          </p:cNvPr>
          <p:cNvSpPr/>
          <p:nvPr userDrawn="1"/>
        </p:nvSpPr>
        <p:spPr>
          <a:xfrm>
            <a:off x="1652592" y="5942424"/>
            <a:ext cx="10296752" cy="45719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6E145E15-404B-472C-A901-B1A5B939140A}"/>
              </a:ext>
            </a:extLst>
          </p:cNvPr>
          <p:cNvSpPr txBox="1"/>
          <p:nvPr userDrawn="1"/>
        </p:nvSpPr>
        <p:spPr>
          <a:xfrm>
            <a:off x="1652591" y="5665425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>
                <a:solidFill>
                  <a:srgbClr val="2E4194"/>
                </a:solidFill>
                <a:latin typeface="Berlin Sans FB Demi" panose="020E0802020502020306" pitchFamily="34" charset="0"/>
              </a:rPr>
              <a:t>EN TIL EN – EN TIL ALL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B0E709C-3231-4B29-8670-A4C04FF829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6374" y="3762270"/>
            <a:ext cx="605414" cy="1547023"/>
          </a:xfrm>
          <a:prstGeom prst="rect">
            <a:avLst/>
          </a:prstGeom>
        </p:spPr>
      </p:pic>
    </p:spTree>
    <p:custDataLst>
      <p:tags r:id="rId7"/>
    </p:custDataLst>
    <p:extLst>
      <p:ext uri="{BB962C8B-B14F-4D97-AF65-F5344CB8AC3E}">
        <p14:creationId xmlns:p14="http://schemas.microsoft.com/office/powerpoint/2010/main" val="4059160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77AB8D-15BF-4BD0-933E-4551988E8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14099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77AB8D-15BF-4BD0-933E-4551988E8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e 12">
            <a:extLst>
              <a:ext uri="{FF2B5EF4-FFF2-40B4-BE49-F238E27FC236}">
                <a16:creationId xmlns:a16="http://schemas.microsoft.com/office/drawing/2014/main" id="{E23E7157-1EF1-40A0-A6A2-81E0E22520F2}"/>
              </a:ext>
            </a:extLst>
          </p:cNvPr>
          <p:cNvGrpSpPr/>
          <p:nvPr userDrawn="1"/>
        </p:nvGrpSpPr>
        <p:grpSpPr>
          <a:xfrm>
            <a:off x="10417124" y="285948"/>
            <a:ext cx="1425283" cy="2485964"/>
            <a:chOff x="9798869" y="807141"/>
            <a:chExt cx="1775189" cy="3096267"/>
          </a:xfrm>
        </p:grpSpPr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2B6EE8B0-2E70-494E-BCC4-C6A783AD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2381" y="2222930"/>
              <a:ext cx="1001677" cy="1680478"/>
            </a:xfrm>
            <a:prstGeom prst="rect">
              <a:avLst/>
            </a:prstGeom>
          </p:spPr>
        </p:pic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3E210E23-1FF5-4630-AFF3-2609C51B90EB}"/>
                </a:ext>
              </a:extLst>
            </p:cNvPr>
            <p:cNvSpPr/>
            <p:nvPr/>
          </p:nvSpPr>
          <p:spPr>
            <a:xfrm>
              <a:off x="9798869" y="807141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" name="Tekstfelt 15">
            <a:extLst>
              <a:ext uri="{FF2B5EF4-FFF2-40B4-BE49-F238E27FC236}">
                <a16:creationId xmlns:a16="http://schemas.microsoft.com/office/drawing/2014/main" id="{CE9FCFBC-8C3F-404D-8FCE-C31490F839D5}"/>
              </a:ext>
            </a:extLst>
          </p:cNvPr>
          <p:cNvSpPr txBox="1"/>
          <p:nvPr userDrawn="1"/>
        </p:nvSpPr>
        <p:spPr>
          <a:xfrm>
            <a:off x="10417124" y="190589"/>
            <a:ext cx="12420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0">
                <a:solidFill>
                  <a:schemeClr val="bg1"/>
                </a:solidFill>
                <a:latin typeface="Berlin Sans FB Demi" panose="020E0802020502020306" pitchFamily="34" charset="0"/>
              </a:rPr>
              <a:t>1:1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2874F201-0540-4DF6-A77E-67F359DE10C6}"/>
              </a:ext>
            </a:extLst>
          </p:cNvPr>
          <p:cNvSpPr/>
          <p:nvPr userDrawn="1"/>
        </p:nvSpPr>
        <p:spPr>
          <a:xfrm>
            <a:off x="247650" y="5936186"/>
            <a:ext cx="11701694" cy="51957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99656483-88E5-4A55-99A1-40FCF4CF52D3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264531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2" r:id="rId2"/>
    <p:sldLayoutId id="2147483757" r:id="rId3"/>
    <p:sldLayoutId id="214748376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77AB8D-15BF-4BD0-933E-4551988E8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5144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77AB8D-15BF-4BD0-933E-4551988E8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e 12">
            <a:extLst>
              <a:ext uri="{FF2B5EF4-FFF2-40B4-BE49-F238E27FC236}">
                <a16:creationId xmlns:a16="http://schemas.microsoft.com/office/drawing/2014/main" id="{E23E7157-1EF1-40A0-A6A2-81E0E22520F2}"/>
              </a:ext>
            </a:extLst>
          </p:cNvPr>
          <p:cNvGrpSpPr/>
          <p:nvPr userDrawn="1"/>
        </p:nvGrpSpPr>
        <p:grpSpPr>
          <a:xfrm>
            <a:off x="10417124" y="285948"/>
            <a:ext cx="1425283" cy="2485964"/>
            <a:chOff x="9798869" y="807141"/>
            <a:chExt cx="1775189" cy="3096267"/>
          </a:xfrm>
        </p:grpSpPr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2B6EE8B0-2E70-494E-BCC4-C6A783AD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2381" y="2222930"/>
              <a:ext cx="1001677" cy="1680478"/>
            </a:xfrm>
            <a:prstGeom prst="rect">
              <a:avLst/>
            </a:prstGeom>
          </p:spPr>
        </p:pic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3E210E23-1FF5-4630-AFF3-2609C51B90EB}"/>
                </a:ext>
              </a:extLst>
            </p:cNvPr>
            <p:cNvSpPr/>
            <p:nvPr/>
          </p:nvSpPr>
          <p:spPr>
            <a:xfrm>
              <a:off x="9798869" y="807141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" name="Tekstfelt 15">
            <a:extLst>
              <a:ext uri="{FF2B5EF4-FFF2-40B4-BE49-F238E27FC236}">
                <a16:creationId xmlns:a16="http://schemas.microsoft.com/office/drawing/2014/main" id="{CE9FCFBC-8C3F-404D-8FCE-C31490F839D5}"/>
              </a:ext>
            </a:extLst>
          </p:cNvPr>
          <p:cNvSpPr txBox="1"/>
          <p:nvPr userDrawn="1"/>
        </p:nvSpPr>
        <p:spPr>
          <a:xfrm>
            <a:off x="10417124" y="190589"/>
            <a:ext cx="12420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0">
                <a:solidFill>
                  <a:schemeClr val="bg1"/>
                </a:solidFill>
                <a:latin typeface="Berlin Sans FB Demi" panose="020E0802020502020306" pitchFamily="34" charset="0"/>
              </a:rPr>
              <a:t>1:1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2874F201-0540-4DF6-A77E-67F359DE10C6}"/>
              </a:ext>
            </a:extLst>
          </p:cNvPr>
          <p:cNvSpPr/>
          <p:nvPr userDrawn="1"/>
        </p:nvSpPr>
        <p:spPr>
          <a:xfrm>
            <a:off x="247650" y="5936186"/>
            <a:ext cx="11701694" cy="51957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99656483-88E5-4A55-99A1-40FCF4CF52D3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4046927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77AB8D-15BF-4BD0-933E-4551988E80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3919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77AB8D-15BF-4BD0-933E-4551988E80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e 12">
            <a:extLst>
              <a:ext uri="{FF2B5EF4-FFF2-40B4-BE49-F238E27FC236}">
                <a16:creationId xmlns:a16="http://schemas.microsoft.com/office/drawing/2014/main" id="{E23E7157-1EF1-40A0-A6A2-81E0E22520F2}"/>
              </a:ext>
            </a:extLst>
          </p:cNvPr>
          <p:cNvGrpSpPr/>
          <p:nvPr userDrawn="1"/>
        </p:nvGrpSpPr>
        <p:grpSpPr>
          <a:xfrm>
            <a:off x="10417124" y="285948"/>
            <a:ext cx="1425283" cy="2485964"/>
            <a:chOff x="9798869" y="807141"/>
            <a:chExt cx="1775189" cy="3096267"/>
          </a:xfrm>
        </p:grpSpPr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2B6EE8B0-2E70-494E-BCC4-C6A783AD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2381" y="2222930"/>
              <a:ext cx="1001677" cy="1680478"/>
            </a:xfrm>
            <a:prstGeom prst="rect">
              <a:avLst/>
            </a:prstGeom>
          </p:spPr>
        </p:pic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3E210E23-1FF5-4630-AFF3-2609C51B90EB}"/>
                </a:ext>
              </a:extLst>
            </p:cNvPr>
            <p:cNvSpPr/>
            <p:nvPr/>
          </p:nvSpPr>
          <p:spPr>
            <a:xfrm>
              <a:off x="9798869" y="807141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" name="Tekstfelt 15">
            <a:extLst>
              <a:ext uri="{FF2B5EF4-FFF2-40B4-BE49-F238E27FC236}">
                <a16:creationId xmlns:a16="http://schemas.microsoft.com/office/drawing/2014/main" id="{CE9FCFBC-8C3F-404D-8FCE-C31490F839D5}"/>
              </a:ext>
            </a:extLst>
          </p:cNvPr>
          <p:cNvSpPr txBox="1"/>
          <p:nvPr userDrawn="1"/>
        </p:nvSpPr>
        <p:spPr>
          <a:xfrm>
            <a:off x="10417124" y="190589"/>
            <a:ext cx="12420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0">
                <a:solidFill>
                  <a:schemeClr val="bg1"/>
                </a:solidFill>
                <a:latin typeface="Berlin Sans FB Demi" panose="020E0802020502020306" pitchFamily="34" charset="0"/>
              </a:rPr>
              <a:t>1:1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2874F201-0540-4DF6-A77E-67F359DE10C6}"/>
              </a:ext>
            </a:extLst>
          </p:cNvPr>
          <p:cNvSpPr/>
          <p:nvPr userDrawn="1"/>
        </p:nvSpPr>
        <p:spPr>
          <a:xfrm>
            <a:off x="247650" y="5936186"/>
            <a:ext cx="11701694" cy="51957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99656483-88E5-4A55-99A1-40FCF4CF52D3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1778085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F6FA98-5899-4A8D-BAEB-D173F3E97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7582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F6FA98-5899-4A8D-BAEB-D173F3E97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e 7">
            <a:extLst>
              <a:ext uri="{FF2B5EF4-FFF2-40B4-BE49-F238E27FC236}">
                <a16:creationId xmlns:a16="http://schemas.microsoft.com/office/drawing/2014/main" id="{8442C576-F801-457E-BDA4-A2F3F8B26E56}"/>
              </a:ext>
            </a:extLst>
          </p:cNvPr>
          <p:cNvGrpSpPr/>
          <p:nvPr userDrawn="1"/>
        </p:nvGrpSpPr>
        <p:grpSpPr>
          <a:xfrm>
            <a:off x="105570" y="5168913"/>
            <a:ext cx="1547023" cy="1547023"/>
            <a:chOff x="105570" y="5168913"/>
            <a:chExt cx="1547023" cy="154702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EC8F511-6283-47BB-934D-7358F87F444D}"/>
                </a:ext>
              </a:extLst>
            </p:cNvPr>
            <p:cNvSpPr/>
            <p:nvPr/>
          </p:nvSpPr>
          <p:spPr>
            <a:xfrm>
              <a:off x="105570" y="5168913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Tekstfelt 9">
              <a:extLst>
                <a:ext uri="{FF2B5EF4-FFF2-40B4-BE49-F238E27FC236}">
                  <a16:creationId xmlns:a16="http://schemas.microsoft.com/office/drawing/2014/main" id="{BBFAE627-E4FB-45AE-AA58-699AB63B30F2}"/>
                </a:ext>
              </a:extLst>
            </p:cNvPr>
            <p:cNvSpPr txBox="1"/>
            <p:nvPr/>
          </p:nvSpPr>
          <p:spPr>
            <a:xfrm>
              <a:off x="105570" y="5216905"/>
              <a:ext cx="15470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0">
                  <a:solidFill>
                    <a:schemeClr val="bg1"/>
                  </a:solidFill>
                  <a:latin typeface="Berlin Sans FB Demi" panose="020E0802020502020306" pitchFamily="34" charset="0"/>
                </a:rPr>
                <a:t>1:1</a:t>
              </a:r>
            </a:p>
          </p:txBody>
        </p:sp>
      </p:grpSp>
      <p:sp>
        <p:nvSpPr>
          <p:cNvPr id="11" name="Tekstfelt 10">
            <a:extLst>
              <a:ext uri="{FF2B5EF4-FFF2-40B4-BE49-F238E27FC236}">
                <a16:creationId xmlns:a16="http://schemas.microsoft.com/office/drawing/2014/main" id="{BFB38BDA-78B7-48C2-B05A-23D60BAFD545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CFBF424-2656-4128-9668-1E1EE358A417}"/>
              </a:ext>
            </a:extLst>
          </p:cNvPr>
          <p:cNvSpPr/>
          <p:nvPr userDrawn="1"/>
        </p:nvSpPr>
        <p:spPr>
          <a:xfrm>
            <a:off x="1652592" y="5942424"/>
            <a:ext cx="10296752" cy="45719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6E145E15-404B-472C-A901-B1A5B939140A}"/>
              </a:ext>
            </a:extLst>
          </p:cNvPr>
          <p:cNvSpPr txBox="1"/>
          <p:nvPr userDrawn="1"/>
        </p:nvSpPr>
        <p:spPr>
          <a:xfrm>
            <a:off x="1652591" y="5665425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>
                <a:solidFill>
                  <a:srgbClr val="2E4194"/>
                </a:solidFill>
                <a:latin typeface="Berlin Sans FB Demi" panose="020E0802020502020306" pitchFamily="34" charset="0"/>
              </a:rPr>
              <a:t>EN TIL EN – EN TIL ALL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B0E709C-3231-4B29-8670-A4C04FF829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6374" y="3762270"/>
            <a:ext cx="605414" cy="1547023"/>
          </a:xfrm>
          <a:prstGeom prst="rect">
            <a:avLst/>
          </a:prstGeom>
        </p:spPr>
      </p:pic>
    </p:spTree>
    <p:custDataLst>
      <p:tags r:id="rId7"/>
    </p:custDataLst>
    <p:extLst>
      <p:ext uri="{BB962C8B-B14F-4D97-AF65-F5344CB8AC3E}">
        <p14:creationId xmlns:p14="http://schemas.microsoft.com/office/powerpoint/2010/main" val="48677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F6FA98-5899-4A8D-BAEB-D173F3E97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3675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F6FA98-5899-4A8D-BAEB-D173F3E97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e 7">
            <a:extLst>
              <a:ext uri="{FF2B5EF4-FFF2-40B4-BE49-F238E27FC236}">
                <a16:creationId xmlns:a16="http://schemas.microsoft.com/office/drawing/2014/main" id="{8442C576-F801-457E-BDA4-A2F3F8B26E56}"/>
              </a:ext>
            </a:extLst>
          </p:cNvPr>
          <p:cNvGrpSpPr/>
          <p:nvPr userDrawn="1"/>
        </p:nvGrpSpPr>
        <p:grpSpPr>
          <a:xfrm>
            <a:off x="105570" y="5168913"/>
            <a:ext cx="1547023" cy="1547023"/>
            <a:chOff x="105570" y="5168913"/>
            <a:chExt cx="1547023" cy="154702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EC8F511-6283-47BB-934D-7358F87F444D}"/>
                </a:ext>
              </a:extLst>
            </p:cNvPr>
            <p:cNvSpPr/>
            <p:nvPr/>
          </p:nvSpPr>
          <p:spPr>
            <a:xfrm>
              <a:off x="105570" y="5168913"/>
              <a:ext cx="1547023" cy="1547023"/>
            </a:xfrm>
            <a:prstGeom prst="ellipse">
              <a:avLst/>
            </a:prstGeom>
            <a:solidFill>
              <a:srgbClr val="2E4194"/>
            </a:solidFill>
            <a:ln>
              <a:solidFill>
                <a:srgbClr val="2E41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Tekstfelt 9">
              <a:extLst>
                <a:ext uri="{FF2B5EF4-FFF2-40B4-BE49-F238E27FC236}">
                  <a16:creationId xmlns:a16="http://schemas.microsoft.com/office/drawing/2014/main" id="{BBFAE627-E4FB-45AE-AA58-699AB63B30F2}"/>
                </a:ext>
              </a:extLst>
            </p:cNvPr>
            <p:cNvSpPr txBox="1"/>
            <p:nvPr/>
          </p:nvSpPr>
          <p:spPr>
            <a:xfrm>
              <a:off x="105570" y="5216905"/>
              <a:ext cx="15470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0">
                  <a:solidFill>
                    <a:schemeClr val="bg1"/>
                  </a:solidFill>
                  <a:latin typeface="Berlin Sans FB Demi" panose="020E0802020502020306" pitchFamily="34" charset="0"/>
                </a:rPr>
                <a:t>1:1</a:t>
              </a:r>
            </a:p>
          </p:txBody>
        </p:sp>
      </p:grpSp>
      <p:sp>
        <p:nvSpPr>
          <p:cNvPr id="11" name="Tekstfelt 10">
            <a:extLst>
              <a:ext uri="{FF2B5EF4-FFF2-40B4-BE49-F238E27FC236}">
                <a16:creationId xmlns:a16="http://schemas.microsoft.com/office/drawing/2014/main" id="{BFB38BDA-78B7-48C2-B05A-23D60BAFD545}"/>
              </a:ext>
            </a:extLst>
          </p:cNvPr>
          <p:cNvSpPr txBox="1"/>
          <p:nvPr userDrawn="1"/>
        </p:nvSpPr>
        <p:spPr>
          <a:xfrm>
            <a:off x="7318253" y="6095037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>
                <a:solidFill>
                  <a:srgbClr val="2E4194"/>
                </a:solidFill>
              </a:rPr>
              <a:t>Chromebooks til eleverne i 2.-10. klasse i Aarhus Kommunes skoler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CFBF424-2656-4128-9668-1E1EE358A417}"/>
              </a:ext>
            </a:extLst>
          </p:cNvPr>
          <p:cNvSpPr/>
          <p:nvPr userDrawn="1"/>
        </p:nvSpPr>
        <p:spPr>
          <a:xfrm>
            <a:off x="1652592" y="5942424"/>
            <a:ext cx="10296752" cy="45719"/>
          </a:xfrm>
          <a:prstGeom prst="rect">
            <a:avLst/>
          </a:prstGeom>
          <a:solidFill>
            <a:srgbClr val="2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6E145E15-404B-472C-A901-B1A5B939140A}"/>
              </a:ext>
            </a:extLst>
          </p:cNvPr>
          <p:cNvSpPr txBox="1"/>
          <p:nvPr userDrawn="1"/>
        </p:nvSpPr>
        <p:spPr>
          <a:xfrm>
            <a:off x="1652591" y="5665425"/>
            <a:ext cx="7183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>
                <a:solidFill>
                  <a:srgbClr val="2E4194"/>
                </a:solidFill>
                <a:latin typeface="Berlin Sans FB Demi" panose="020E0802020502020306" pitchFamily="34" charset="0"/>
              </a:rPr>
              <a:t>EN TIL EN – EN TIL ALL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B0E709C-3231-4B29-8670-A4C04FF829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6374" y="3762270"/>
            <a:ext cx="605414" cy="1547023"/>
          </a:xfrm>
          <a:prstGeom prst="rect">
            <a:avLst/>
          </a:prstGeom>
        </p:spPr>
      </p:pic>
    </p:spTree>
    <p:custDataLst>
      <p:tags r:id="rId7"/>
    </p:custDataLst>
    <p:extLst>
      <p:ext uri="{BB962C8B-B14F-4D97-AF65-F5344CB8AC3E}">
        <p14:creationId xmlns:p14="http://schemas.microsoft.com/office/powerpoint/2010/main" val="341400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59.xml"/><Relationship Id="rId21" Type="http://schemas.openxmlformats.org/officeDocument/2006/relationships/tags" Target="../tags/tag54.xml"/><Relationship Id="rId42" Type="http://schemas.openxmlformats.org/officeDocument/2006/relationships/tags" Target="../tags/tag75.xml"/><Relationship Id="rId47" Type="http://schemas.openxmlformats.org/officeDocument/2006/relationships/tags" Target="../tags/tag80.xml"/><Relationship Id="rId63" Type="http://schemas.openxmlformats.org/officeDocument/2006/relationships/tags" Target="../tags/tag96.xml"/><Relationship Id="rId68" Type="http://schemas.openxmlformats.org/officeDocument/2006/relationships/tags" Target="../tags/tag101.xml"/><Relationship Id="rId84" Type="http://schemas.openxmlformats.org/officeDocument/2006/relationships/tags" Target="../tags/tag117.xml"/><Relationship Id="rId89" Type="http://schemas.openxmlformats.org/officeDocument/2006/relationships/tags" Target="../tags/tag122.xml"/><Relationship Id="rId16" Type="http://schemas.openxmlformats.org/officeDocument/2006/relationships/tags" Target="../tags/tag49.xml"/><Relationship Id="rId11" Type="http://schemas.openxmlformats.org/officeDocument/2006/relationships/tags" Target="../tags/tag44.xml"/><Relationship Id="rId32" Type="http://schemas.openxmlformats.org/officeDocument/2006/relationships/tags" Target="../tags/tag65.xml"/><Relationship Id="rId37" Type="http://schemas.openxmlformats.org/officeDocument/2006/relationships/tags" Target="../tags/tag70.xml"/><Relationship Id="rId53" Type="http://schemas.openxmlformats.org/officeDocument/2006/relationships/tags" Target="../tags/tag86.xml"/><Relationship Id="rId58" Type="http://schemas.openxmlformats.org/officeDocument/2006/relationships/tags" Target="../tags/tag91.xml"/><Relationship Id="rId74" Type="http://schemas.openxmlformats.org/officeDocument/2006/relationships/tags" Target="../tags/tag107.xml"/><Relationship Id="rId79" Type="http://schemas.openxmlformats.org/officeDocument/2006/relationships/tags" Target="../tags/tag112.xml"/><Relationship Id="rId102" Type="http://schemas.openxmlformats.org/officeDocument/2006/relationships/oleObject" Target="../embeddings/oleObject8.bin"/><Relationship Id="rId5" Type="http://schemas.openxmlformats.org/officeDocument/2006/relationships/tags" Target="../tags/tag38.xml"/><Relationship Id="rId90" Type="http://schemas.openxmlformats.org/officeDocument/2006/relationships/tags" Target="../tags/tag123.xml"/><Relationship Id="rId95" Type="http://schemas.openxmlformats.org/officeDocument/2006/relationships/tags" Target="../tags/tag128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43" Type="http://schemas.openxmlformats.org/officeDocument/2006/relationships/tags" Target="../tags/tag76.xml"/><Relationship Id="rId48" Type="http://schemas.openxmlformats.org/officeDocument/2006/relationships/tags" Target="../tags/tag81.xml"/><Relationship Id="rId64" Type="http://schemas.openxmlformats.org/officeDocument/2006/relationships/tags" Target="../tags/tag97.xml"/><Relationship Id="rId69" Type="http://schemas.openxmlformats.org/officeDocument/2006/relationships/tags" Target="../tags/tag102.xml"/><Relationship Id="rId80" Type="http://schemas.openxmlformats.org/officeDocument/2006/relationships/tags" Target="../tags/tag113.xml"/><Relationship Id="rId85" Type="http://schemas.openxmlformats.org/officeDocument/2006/relationships/tags" Target="../tags/tag118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tags" Target="../tags/tag71.xml"/><Relationship Id="rId46" Type="http://schemas.openxmlformats.org/officeDocument/2006/relationships/tags" Target="../tags/tag79.xml"/><Relationship Id="rId59" Type="http://schemas.openxmlformats.org/officeDocument/2006/relationships/tags" Target="../tags/tag92.xml"/><Relationship Id="rId67" Type="http://schemas.openxmlformats.org/officeDocument/2006/relationships/tags" Target="../tags/tag100.xml"/><Relationship Id="rId103" Type="http://schemas.openxmlformats.org/officeDocument/2006/relationships/image" Target="../media/image10.emf"/><Relationship Id="rId20" Type="http://schemas.openxmlformats.org/officeDocument/2006/relationships/tags" Target="../tags/tag53.xml"/><Relationship Id="rId41" Type="http://schemas.openxmlformats.org/officeDocument/2006/relationships/tags" Target="../tags/tag74.xml"/><Relationship Id="rId54" Type="http://schemas.openxmlformats.org/officeDocument/2006/relationships/tags" Target="../tags/tag87.xml"/><Relationship Id="rId62" Type="http://schemas.openxmlformats.org/officeDocument/2006/relationships/tags" Target="../tags/tag95.xml"/><Relationship Id="rId70" Type="http://schemas.openxmlformats.org/officeDocument/2006/relationships/tags" Target="../tags/tag103.xml"/><Relationship Id="rId75" Type="http://schemas.openxmlformats.org/officeDocument/2006/relationships/tags" Target="../tags/tag108.xml"/><Relationship Id="rId83" Type="http://schemas.openxmlformats.org/officeDocument/2006/relationships/tags" Target="../tags/tag116.xml"/><Relationship Id="rId88" Type="http://schemas.openxmlformats.org/officeDocument/2006/relationships/tags" Target="../tags/tag121.xml"/><Relationship Id="rId91" Type="http://schemas.openxmlformats.org/officeDocument/2006/relationships/tags" Target="../tags/tag124.xml"/><Relationship Id="rId96" Type="http://schemas.openxmlformats.org/officeDocument/2006/relationships/tags" Target="../tags/tag1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9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49" Type="http://schemas.openxmlformats.org/officeDocument/2006/relationships/tags" Target="../tags/tag82.xml"/><Relationship Id="rId57" Type="http://schemas.openxmlformats.org/officeDocument/2006/relationships/tags" Target="../tags/tag90.xml"/><Relationship Id="rId10" Type="http://schemas.openxmlformats.org/officeDocument/2006/relationships/tags" Target="../tags/tag43.xml"/><Relationship Id="rId31" Type="http://schemas.openxmlformats.org/officeDocument/2006/relationships/tags" Target="../tags/tag64.xml"/><Relationship Id="rId44" Type="http://schemas.openxmlformats.org/officeDocument/2006/relationships/tags" Target="../tags/tag77.xml"/><Relationship Id="rId52" Type="http://schemas.openxmlformats.org/officeDocument/2006/relationships/tags" Target="../tags/tag85.xml"/><Relationship Id="rId60" Type="http://schemas.openxmlformats.org/officeDocument/2006/relationships/tags" Target="../tags/tag93.xml"/><Relationship Id="rId65" Type="http://schemas.openxmlformats.org/officeDocument/2006/relationships/tags" Target="../tags/tag98.xml"/><Relationship Id="rId73" Type="http://schemas.openxmlformats.org/officeDocument/2006/relationships/tags" Target="../tags/tag106.xml"/><Relationship Id="rId78" Type="http://schemas.openxmlformats.org/officeDocument/2006/relationships/tags" Target="../tags/tag111.xml"/><Relationship Id="rId81" Type="http://schemas.openxmlformats.org/officeDocument/2006/relationships/tags" Target="../tags/tag114.xml"/><Relationship Id="rId86" Type="http://schemas.openxmlformats.org/officeDocument/2006/relationships/tags" Target="../tags/tag119.xml"/><Relationship Id="rId94" Type="http://schemas.openxmlformats.org/officeDocument/2006/relationships/tags" Target="../tags/tag127.xml"/><Relationship Id="rId99" Type="http://schemas.openxmlformats.org/officeDocument/2006/relationships/tags" Target="../tags/tag132.xml"/><Relationship Id="rId101" Type="http://schemas.openxmlformats.org/officeDocument/2006/relationships/slideLayout" Target="../slideLayouts/slideLayout1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9" Type="http://schemas.openxmlformats.org/officeDocument/2006/relationships/tags" Target="../tags/tag72.xml"/><Relationship Id="rId34" Type="http://schemas.openxmlformats.org/officeDocument/2006/relationships/tags" Target="../tags/tag67.xml"/><Relationship Id="rId50" Type="http://schemas.openxmlformats.org/officeDocument/2006/relationships/tags" Target="../tags/tag83.xml"/><Relationship Id="rId55" Type="http://schemas.openxmlformats.org/officeDocument/2006/relationships/tags" Target="../tags/tag88.xml"/><Relationship Id="rId76" Type="http://schemas.openxmlformats.org/officeDocument/2006/relationships/tags" Target="../tags/tag109.xml"/><Relationship Id="rId97" Type="http://schemas.openxmlformats.org/officeDocument/2006/relationships/tags" Target="../tags/tag130.xml"/><Relationship Id="rId7" Type="http://schemas.openxmlformats.org/officeDocument/2006/relationships/tags" Target="../tags/tag40.xml"/><Relationship Id="rId71" Type="http://schemas.openxmlformats.org/officeDocument/2006/relationships/tags" Target="../tags/tag104.xml"/><Relationship Id="rId92" Type="http://schemas.openxmlformats.org/officeDocument/2006/relationships/tags" Target="../tags/tag125.xml"/><Relationship Id="rId2" Type="http://schemas.openxmlformats.org/officeDocument/2006/relationships/tags" Target="../tags/tag35.xml"/><Relationship Id="rId29" Type="http://schemas.openxmlformats.org/officeDocument/2006/relationships/tags" Target="../tags/tag62.xml"/><Relationship Id="rId24" Type="http://schemas.openxmlformats.org/officeDocument/2006/relationships/tags" Target="../tags/tag57.xml"/><Relationship Id="rId40" Type="http://schemas.openxmlformats.org/officeDocument/2006/relationships/tags" Target="../tags/tag73.xml"/><Relationship Id="rId45" Type="http://schemas.openxmlformats.org/officeDocument/2006/relationships/tags" Target="../tags/tag78.xml"/><Relationship Id="rId66" Type="http://schemas.openxmlformats.org/officeDocument/2006/relationships/tags" Target="../tags/tag99.xml"/><Relationship Id="rId87" Type="http://schemas.openxmlformats.org/officeDocument/2006/relationships/tags" Target="../tags/tag120.xml"/><Relationship Id="rId61" Type="http://schemas.openxmlformats.org/officeDocument/2006/relationships/tags" Target="../tags/tag94.xml"/><Relationship Id="rId82" Type="http://schemas.openxmlformats.org/officeDocument/2006/relationships/tags" Target="../tags/tag115.xml"/><Relationship Id="rId19" Type="http://schemas.openxmlformats.org/officeDocument/2006/relationships/tags" Target="../tags/tag52.xml"/><Relationship Id="rId14" Type="http://schemas.openxmlformats.org/officeDocument/2006/relationships/tags" Target="../tags/tag47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56" Type="http://schemas.openxmlformats.org/officeDocument/2006/relationships/tags" Target="../tags/tag89.xml"/><Relationship Id="rId77" Type="http://schemas.openxmlformats.org/officeDocument/2006/relationships/tags" Target="../tags/tag110.xml"/><Relationship Id="rId100" Type="http://schemas.openxmlformats.org/officeDocument/2006/relationships/tags" Target="../tags/tag133.xml"/><Relationship Id="rId8" Type="http://schemas.openxmlformats.org/officeDocument/2006/relationships/tags" Target="../tags/tag41.xml"/><Relationship Id="rId51" Type="http://schemas.openxmlformats.org/officeDocument/2006/relationships/tags" Target="../tags/tag84.xml"/><Relationship Id="rId72" Type="http://schemas.openxmlformats.org/officeDocument/2006/relationships/tags" Target="../tags/tag105.xml"/><Relationship Id="rId93" Type="http://schemas.openxmlformats.org/officeDocument/2006/relationships/tags" Target="../tags/tag126.xml"/><Relationship Id="rId98" Type="http://schemas.openxmlformats.org/officeDocument/2006/relationships/tags" Target="../tags/tag131.xml"/><Relationship Id="rId3" Type="http://schemas.openxmlformats.org/officeDocument/2006/relationships/tags" Target="../tags/tag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intranet.aarhuskommune.dk/documents/42106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aarhuskommune.sharepoint.com/sites/IntranetDocumentSite/Intranetdokumentbibliotek/Forms/Seneste%20dokumenter.aspx?id=%2Fsites%2FIntranetDocumentSite%2FIntranetdokumentbibliotek%2FRisikovurdering%20%2D%20digital%5F11%5F19%20final%2Epdf&amp;parent=%2Fsites%2FIntranetDocumentSite%2FIntranetdokumentbibliotek&amp;p=true&amp;originalPath=aHR0cHM6Ly9hYXJodXNrb21tdW5lLnNoYXJlcG9pbnQuY29tLzpiOi9zL0ludHJhbmV0RG9jdW1lbnRTaXRlL0VWZnRQTDYxaDBSTG1rc2ZFeVB5dFV3QnQ0alVrLWdadWhNS0lJcFNiNmcyX1E_cnRpbWU9anVxQVh6MV8xMGc" TargetMode="Externa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arhus.dk/nyt/boern-og-unge/2019/september/elever-i-folkeskolen-i-aarhus-faar-hver-sin-computer/" TargetMode="Externa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arhus.dk/borger/pasning-skole-og-uddannelse/skole-sfo-og-klub/foer-dit-barn-starter-i-skole/en-god-skolestart/samarbejde-mellem-skole-og-hjem/foelg-med-i-dit-barns-hverdag/computere-til-elever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lojs@aarhus.dk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BDB8CCD3-726E-46F4-8A56-89DB270E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5400" y="1242210"/>
            <a:ext cx="9601200" cy="879475"/>
          </a:xfrm>
        </p:spPr>
        <p:txBody>
          <a:bodyPr/>
          <a:lstStyle/>
          <a:p>
            <a:r>
              <a:rPr lang="da-DK"/>
              <a:t>Chromebooks </a:t>
            </a:r>
            <a:br>
              <a:rPr lang="da-DK"/>
            </a:br>
            <a:r>
              <a:rPr lang="da-DK"/>
              <a:t>til eleverne</a:t>
            </a:r>
            <a:br>
              <a:rPr lang="da-DK"/>
            </a:br>
            <a:endParaRPr lang="da-DK"/>
          </a:p>
          <a:p>
            <a:endParaRPr lang="da-DK" sz="2400" b="0"/>
          </a:p>
          <a:p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A22FF66-6026-46C5-8CF8-406A3600DA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Inspirationsmateriale til MED-udvalget </a:t>
            </a:r>
            <a:br>
              <a:rPr lang="da-DK"/>
            </a:br>
            <a:r>
              <a:rPr lang="da-DK"/>
              <a:t>ifm. risikovurdering af 1:1-ordningen</a:t>
            </a:r>
          </a:p>
          <a:p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07EAC558-D2C3-48BF-9530-00E8B26059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8475" y="277106"/>
            <a:ext cx="1258583" cy="6637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9990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0AE220DD-C3CA-4CD9-B764-E853E91CFA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t"/>
          <a:lstStyle/>
          <a:p>
            <a:r>
              <a:rPr lang="da-DK"/>
              <a:t>Risikovurdering – Output fra ÅLF og AM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CB50DAD-9D98-4982-A665-6B3600BFEE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599" y="860100"/>
            <a:ext cx="10108877" cy="454655"/>
          </a:xfrm>
        </p:spPr>
        <p:txBody>
          <a:bodyPr anchor="t"/>
          <a:lstStyle/>
          <a:p>
            <a:r>
              <a:rPr lang="da-DK" i="0">
                <a:latin typeface="Arial"/>
                <a:cs typeface="Arial"/>
              </a:rPr>
              <a:t>Risikovurdering udarbejdet i samarbejde med ÅLF og AMR.</a:t>
            </a:r>
          </a:p>
          <a:p>
            <a:endParaRPr lang="da-DK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9BEF9242-AC63-40A4-B629-85EE250520DA}"/>
              </a:ext>
            </a:extLst>
          </p:cNvPr>
          <p:cNvSpPr txBox="1"/>
          <p:nvPr/>
        </p:nvSpPr>
        <p:spPr>
          <a:xfrm rot="-10800000" flipV="1">
            <a:off x="369207" y="2520325"/>
            <a:ext cx="229870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a-DK" sz="1600">
              <a:latin typeface="Arial"/>
              <a:cs typeface="Arial"/>
            </a:endParaRPr>
          </a:p>
          <a:p>
            <a:pPr algn="ctr"/>
            <a:endParaRPr lang="da-DK" sz="1600">
              <a:latin typeface="Arial"/>
              <a:ea typeface="+mn-lt"/>
              <a:cs typeface="Arial"/>
            </a:endParaRPr>
          </a:p>
          <a:p>
            <a:pPr algn="ctr"/>
            <a:endParaRPr lang="da-DK">
              <a:cs typeface="Calibri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CAAD45E3-02B5-4691-B10F-E4A409E6A976}"/>
              </a:ext>
            </a:extLst>
          </p:cNvPr>
          <p:cNvSpPr/>
          <p:nvPr/>
        </p:nvSpPr>
        <p:spPr>
          <a:xfrm>
            <a:off x="3050903" y="1921742"/>
            <a:ext cx="2952073" cy="2924857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Bliver forældrene 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E4194"/>
                </a:solidFill>
                <a:effectLst/>
                <a:uLnTx/>
                <a:uFillTx/>
                <a:latin typeface="Arial"/>
                <a:cs typeface="Arial"/>
              </a:rPr>
              <a:t>og</a:t>
            </a: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 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E4194"/>
                </a:solidFill>
                <a:effectLst/>
                <a:uLnTx/>
                <a:uFillTx/>
                <a:latin typeface="Arial"/>
                <a:cs typeface="Arial"/>
              </a:rPr>
              <a:t>eleverne</a:t>
            </a: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 også hjulpet? </a:t>
            </a:r>
            <a:br>
              <a:rPr lang="da-DK" sz="1200">
                <a:solidFill>
                  <a:srgbClr val="2E4194"/>
                </a:solidFill>
                <a:latin typeface="Arial"/>
                <a:cs typeface="Arial"/>
              </a:rPr>
            </a:b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Hvad når man ikke kan tale dansk? </a:t>
            </a:r>
            <a:br>
              <a:rPr lang="da-DK" sz="1200">
                <a:solidFill>
                  <a:srgbClr val="2E4194"/>
                </a:solidFill>
                <a:latin typeface="Arial"/>
                <a:cs typeface="Arial"/>
              </a:rPr>
            </a:b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Vær klar på forskellighed </a:t>
            </a:r>
            <a:br>
              <a:rPr lang="da-DK" sz="1200">
                <a:solidFill>
                  <a:srgbClr val="2E4194"/>
                </a:solidFill>
                <a:latin typeface="Arial"/>
                <a:cs typeface="Arial"/>
              </a:rPr>
            </a:br>
            <a:r>
              <a:rPr lang="da-DK" sz="1200">
                <a:solidFill>
                  <a:srgbClr val="2E4194"/>
                </a:solidFill>
                <a:latin typeface="Arial"/>
                <a:cs typeface="Arial"/>
              </a:rPr>
              <a:t>på skolerne.</a:t>
            </a:r>
            <a:endParaRPr lang="da-DK">
              <a:solidFill>
                <a:srgbClr val="2E4194"/>
              </a:solidFill>
              <a:cs typeface="Calibri"/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E1A20248-77FF-43CA-A3FA-6F5B6E9B7467}"/>
              </a:ext>
            </a:extLst>
          </p:cNvPr>
          <p:cNvSpPr/>
          <p:nvPr/>
        </p:nvSpPr>
        <p:spPr>
          <a:xfrm>
            <a:off x="5817687" y="1967099"/>
            <a:ext cx="2952073" cy="2924857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Udover De32, hvad er der af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muligheder for at facilitere forandringen og for praksisnært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kompetenceløft? </a:t>
            </a:r>
            <a:r>
              <a:rPr lang="da-DK" sz="1200">
                <a:latin typeface="Arial"/>
                <a:ea typeface="+mn-lt"/>
                <a:cs typeface="+mn-lt"/>
              </a:rPr>
              <a:t> </a:t>
            </a:r>
            <a:endParaRPr lang="da-DK">
              <a:latin typeface="Arial"/>
              <a:cs typeface="Arial"/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628242BF-C425-4ABF-9D3F-F64FBFE0091F}"/>
              </a:ext>
            </a:extLst>
          </p:cNvPr>
          <p:cNvSpPr/>
          <p:nvPr/>
        </p:nvSpPr>
        <p:spPr>
          <a:xfrm>
            <a:off x="293188" y="1967099"/>
            <a:ext cx="2952073" cy="2924857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Ledelse skal facilitere forandringen og rammerne for </a:t>
            </a:r>
            <a:b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den forandring, der sker på skolen.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 Reducer kompleksiteten 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 for medarbejderne. 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 Der er forventninger til </a:t>
            </a:r>
            <a:b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lærerne – men hvilke?  </a:t>
            </a:r>
            <a:endParaRPr lang="da-DK">
              <a:solidFill>
                <a:srgbClr val="2E4194"/>
              </a:solidFill>
              <a:latin typeface="Arial"/>
              <a:cs typeface="Calibri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23623DE4-ADF8-4A73-A131-86BF17017D01}"/>
              </a:ext>
            </a:extLst>
          </p:cNvPr>
          <p:cNvSpPr/>
          <p:nvPr/>
        </p:nvSpPr>
        <p:spPr>
          <a:xfrm>
            <a:off x="8575400" y="1921741"/>
            <a:ext cx="2952073" cy="2924857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Hvordan skal medarbejderne arbejde </a:t>
            </a:r>
            <a:b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med it i undervisningen?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Hvornår er det god kvalitet med it? Har alle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kompetencerne? Der er tvivl og usikkerhed om,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hvad det kommer til at betyde </a:t>
            </a:r>
            <a:br>
              <a:rPr lang="da-DK" sz="1200">
                <a:latin typeface="Arial"/>
                <a:ea typeface="+mn-lt"/>
                <a:cs typeface="+mn-lt"/>
              </a:rPr>
            </a:br>
            <a:r>
              <a:rPr lang="da-DK" sz="1200">
                <a:solidFill>
                  <a:srgbClr val="2E4194"/>
                </a:solidFill>
                <a:latin typeface="Arial"/>
                <a:ea typeface="+mn-lt"/>
                <a:cs typeface="+mn-lt"/>
              </a:rPr>
              <a:t>for medarbejderne. </a:t>
            </a:r>
            <a:r>
              <a:rPr lang="da-DK" sz="1200">
                <a:ea typeface="+mn-lt"/>
                <a:cs typeface="+mn-lt"/>
              </a:rPr>
              <a:t>  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633888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9E0F9CE3-6EDF-498B-AF7A-BD5BD0AC01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65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102" imgW="235" imgH="235" progId="TCLayout.ActiveDocument.1">
                  <p:embed/>
                </p:oleObj>
              </mc:Choice>
              <mc:Fallback>
                <p:oleObj name="think-cell Slide" r:id="rId102" imgW="235" imgH="235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9E0F9CE3-6EDF-498B-AF7A-BD5BD0AC0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4BB7348D-BEDA-4EC8-8E9E-F0CE8AA0E4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da-DK" sz="1400" b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4251164-F377-4A9A-810C-8A0A099ECCED}"/>
              </a:ext>
            </a:extLst>
          </p:cNvPr>
          <p:cNvSpPr/>
          <p:nvPr/>
        </p:nvSpPr>
        <p:spPr>
          <a:xfrm>
            <a:off x="113016" y="5845175"/>
            <a:ext cx="12078981" cy="710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9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01975" y="1784350"/>
            <a:ext cx="18716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459684-AD6F-460F-B41F-48FF5A0196C7}" type="datetime'''''2''''''01''''''''''''''9''''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0" name="Pladsholder til tekst 2">
            <a:extLst>
              <a:ext uri="{FF2B5EF4-FFF2-40B4-BE49-F238E27FC236}">
                <a16:creationId xmlns:a16="http://schemas.microsoft.com/office/drawing/2014/main" id="{E3C6B8E1-B330-4738-85CB-877777C53E6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73639" y="1784350"/>
            <a:ext cx="5618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0124B6-0DF0-4537-94B6-48935C475359}" type="datetime'''2''''''''0''''''''''''''2''''''''0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82" name="Pladsholder til tekst 2">
            <a:extLst>
              <a:ext uri="{FF2B5EF4-FFF2-40B4-BE49-F238E27FC236}">
                <a16:creationId xmlns:a16="http://schemas.microsoft.com/office/drawing/2014/main" id="{5F962F54-21DD-4282-B042-AC64065D3FD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591801" y="1784350"/>
            <a:ext cx="9048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46F9F0-4BD3-4B53-8D3F-EE7876F02435}" type="datetime'''''''''''''''''''2''''''''''''''''''''''''''''0''21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3" name="Pladsholder til tekst 2">
            <a:extLst>
              <a:ext uri="{FF2B5EF4-FFF2-40B4-BE49-F238E27FC236}">
                <a16:creationId xmlns:a16="http://schemas.microsoft.com/office/drawing/2014/main" id="{9B8B7166-5BAD-4BF5-BCA2-C77ADA5231D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01976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330ABD-35E3-4BC0-9E87-2ABE2FC33C97}" type="datetime'''''''s''''''''''''''''''''''''''''e''p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p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4" name="Pladsholder til tekst 2">
            <a:extLst>
              <a:ext uri="{FF2B5EF4-FFF2-40B4-BE49-F238E27FC236}">
                <a16:creationId xmlns:a16="http://schemas.microsoft.com/office/drawing/2014/main" id="{1AEA2C7E-6EBF-4E8B-BB2F-F95DEDEE94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62350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4748DC-98EE-4277-84C6-D6D339DCD5BB}" type="datetime'''''''o''''''''''''''''''k''''''''''''''''''t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kt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5" name="Pladsholder til tekst 2">
            <a:extLst>
              <a:ext uri="{FF2B5EF4-FFF2-40B4-BE49-F238E27FC236}">
                <a16:creationId xmlns:a16="http://schemas.microsoft.com/office/drawing/2014/main" id="{61401340-884B-4B35-8B04-10D6461D541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038601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442F8B9-35EF-4FF8-83DC-8E16A1403E49}" type="datetime'''''n''o''''''''''''''''''''''''v''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6" name="Pladsholder til tekst 2">
            <a:extLst>
              <a:ext uri="{FF2B5EF4-FFF2-40B4-BE49-F238E27FC236}">
                <a16:creationId xmlns:a16="http://schemas.microsoft.com/office/drawing/2014/main" id="{029F4897-767B-4B18-A769-5721E755A6E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98975" y="2024063"/>
            <a:ext cx="4746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6BA2787-7FB7-404C-8B7B-96A8BD0363C5}" type="datetime'''''''''''''''''d''''''''''''''''''''e''c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7" name="Pladsholder til tekst 2">
            <a:extLst>
              <a:ext uri="{FF2B5EF4-FFF2-40B4-BE49-F238E27FC236}">
                <a16:creationId xmlns:a16="http://schemas.microsoft.com/office/drawing/2014/main" id="{B7B4AB43-BFD7-42C3-81A5-8BF94E523BF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73638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2E70D2-A75E-4C96-BD8B-A516879E6FF8}" type="datetime'''''''j''''''''''''''a''''''''''''''''''''''n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8" name="Pladsholder til tekst 2">
            <a:extLst>
              <a:ext uri="{FF2B5EF4-FFF2-40B4-BE49-F238E27FC236}">
                <a16:creationId xmlns:a16="http://schemas.microsoft.com/office/drawing/2014/main" id="{56360AB2-6551-4269-BFBB-091938862EE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49888" y="2024063"/>
            <a:ext cx="4445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6CD8B7F-AC9D-4E44-838E-4FAABD059B09}" type="datetime'''''''''''''''f''''''''''''e''''''''''''''''''''b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94388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62547F-4F41-4685-8393-0FBBC04E7A80}" type="datetime'''''m''''''''''''''''''''''''''''''''''''''''''''''ar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r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Pladsholder til tekst 2">
            <a:extLst>
              <a:ext uri="{FF2B5EF4-FFF2-40B4-BE49-F238E27FC236}">
                <a16:creationId xmlns:a16="http://schemas.microsoft.com/office/drawing/2014/main" id="{75992469-4713-41E6-B7B3-D8D36748FA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370639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72D628-B1A5-47E7-8C71-EDE0A561DA59}" type="datetime'''a''''''''''''''''''''''''''''''''''''''p''''r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pr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Pladsholder til tekst 2">
            <a:extLst>
              <a:ext uri="{FF2B5EF4-FFF2-40B4-BE49-F238E27FC236}">
                <a16:creationId xmlns:a16="http://schemas.microsoft.com/office/drawing/2014/main" id="{DF19CFDE-3DC5-4B86-A337-F66C21BB10B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831013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015538-9B0F-4C48-8D2A-9D0414938FC5}" type="datetime'''''''''''''m''''''''''a''''''''''''j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j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3" name="Pladsholder til tekst 2">
            <a:extLst>
              <a:ext uri="{FF2B5EF4-FFF2-40B4-BE49-F238E27FC236}">
                <a16:creationId xmlns:a16="http://schemas.microsoft.com/office/drawing/2014/main" id="{D637D328-A941-4B60-ADDB-7981101B42B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307264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2A8B7F-34F3-48AA-B898-D66BAD93A920}" type="datetime'''j''''''u''''''''''''n''''''''''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n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4" name="Pladsholder til tekst 2">
            <a:extLst>
              <a:ext uri="{FF2B5EF4-FFF2-40B4-BE49-F238E27FC236}">
                <a16:creationId xmlns:a16="http://schemas.microsoft.com/office/drawing/2014/main" id="{611E72ED-FFCA-4FCC-B8CB-EDB3E486AE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67638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BAE62A-A038-4908-8857-8020D9F26675}" type="datetime'''''''''''''''''j''''''''''''''''''u''''l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l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5" name="Pladsholder til tekst 2">
            <a:extLst>
              <a:ext uri="{FF2B5EF4-FFF2-40B4-BE49-F238E27FC236}">
                <a16:creationId xmlns:a16="http://schemas.microsoft.com/office/drawing/2014/main" id="{0872AA52-BA99-421E-9CDF-C9F1B173D04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43888" y="2024063"/>
            <a:ext cx="4746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DAF14A-C0CF-4DD9-983A-9977BA754A42}" type="datetime'''''''a''''''''''''u''''''''''''g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ug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6" name="Pladsholder til tekst 2">
            <a:extLst>
              <a:ext uri="{FF2B5EF4-FFF2-40B4-BE49-F238E27FC236}">
                <a16:creationId xmlns:a16="http://schemas.microsoft.com/office/drawing/2014/main" id="{82B15CF7-DF72-4D7E-A064-806D1761E96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718551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9ABFD96-85AD-478D-ACA9-F9F012AAFA63}" type="datetime'''''se''''''''''''''''''''''''''p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p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7" name="Pladsholder til tekst 2">
            <a:extLst>
              <a:ext uri="{FF2B5EF4-FFF2-40B4-BE49-F238E27FC236}">
                <a16:creationId xmlns:a16="http://schemas.microsoft.com/office/drawing/2014/main" id="{E1336CE4-9881-4D45-9285-98009A3BF2D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178925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A9EC102-2062-428F-8D19-73067F476F45}" type="datetime'o''''''''''''''''''''''''''''kt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kt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8" name="Pladsholder til tekst 2">
            <a:extLst>
              <a:ext uri="{FF2B5EF4-FFF2-40B4-BE49-F238E27FC236}">
                <a16:creationId xmlns:a16="http://schemas.microsoft.com/office/drawing/2014/main" id="{2CEE5FAC-19CA-4E37-9F2D-0AFEC5E5B4C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55176" y="2024063"/>
            <a:ext cx="4603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87033D-1BEA-4529-8F46-6C37C79165B9}" type="datetime'''''''''''''''''''n''''''''''''ov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9" name="Pladsholder til tekst 2">
            <a:extLst>
              <a:ext uri="{FF2B5EF4-FFF2-40B4-BE49-F238E27FC236}">
                <a16:creationId xmlns:a16="http://schemas.microsoft.com/office/drawing/2014/main" id="{FFA01C02-50AB-4F37-8ACE-D80C04B5816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115550" y="2024063"/>
            <a:ext cx="4762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0B8178-1902-412F-8B81-E9C8075F5AD0}" type="datetime'''''''''''''''''''''''''''''''''''''d''''''e''c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70" name="Pladsholder til tekst 2">
            <a:extLst>
              <a:ext uri="{FF2B5EF4-FFF2-40B4-BE49-F238E27FC236}">
                <a16:creationId xmlns:a16="http://schemas.microsoft.com/office/drawing/2014/main" id="{A8F6C030-6E21-4625-93BE-0D62327992E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591800" y="2024063"/>
            <a:ext cx="4746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CB59A0C-FA00-4AAF-B20A-77E798418505}" type="datetime'''''''ja''''''n''''''''''''''''''''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71" name="Pladsholder til tekst 2">
            <a:extLst>
              <a:ext uri="{FF2B5EF4-FFF2-40B4-BE49-F238E27FC236}">
                <a16:creationId xmlns:a16="http://schemas.microsoft.com/office/drawing/2014/main" id="{90302FBD-83B1-42AE-804F-40F9ADF5ED8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066464" y="2024063"/>
            <a:ext cx="4302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5805ED-33C6-4F90-AA2E-0F4F8FD18548}" type="datetime'''''''''''''''''f''''''''''''''''''e''''b'''''''''''''''''">
              <a:rPr kumimoji="0" lang="da-DK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188" name="Lige forbindelse 187">
            <a:extLst>
              <a:ext uri="{FF2B5EF4-FFF2-40B4-BE49-F238E27FC236}">
                <a16:creationId xmlns:a16="http://schemas.microsoft.com/office/drawing/2014/main" id="{E9D8CB20-C7D8-4586-BB04-2E9233468F3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591800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Lige forbindelse 121">
            <a:extLst>
              <a:ext uri="{FF2B5EF4-FFF2-40B4-BE49-F238E27FC236}">
                <a16:creationId xmlns:a16="http://schemas.microsoft.com/office/drawing/2014/main" id="{DA7B11DB-C956-472C-9082-645F3CE5BEC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97363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Lige forbindelse 62">
            <a:extLst>
              <a:ext uri="{FF2B5EF4-FFF2-40B4-BE49-F238E27FC236}">
                <a16:creationId xmlns:a16="http://schemas.microsoft.com/office/drawing/2014/main" id="{4BA331B6-055E-4563-B89E-2A8AFB616BC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69888" y="2263775"/>
            <a:ext cx="0" cy="40132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Lige forbindelse 183">
            <a:extLst>
              <a:ext uri="{FF2B5EF4-FFF2-40B4-BE49-F238E27FC236}">
                <a16:creationId xmlns:a16="http://schemas.microsoft.com/office/drawing/2014/main" id="{8FE4F50F-C3EE-4992-AA86-102215104E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718550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Lige forbindelse 188">
            <a:extLst>
              <a:ext uri="{FF2B5EF4-FFF2-40B4-BE49-F238E27FC236}">
                <a16:creationId xmlns:a16="http://schemas.microsoft.com/office/drawing/2014/main" id="{562431D4-8462-479E-B356-950C891E98E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066463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forbindelse 46">
            <a:extLst>
              <a:ext uri="{FF2B5EF4-FFF2-40B4-BE49-F238E27FC236}">
                <a16:creationId xmlns:a16="http://schemas.microsoft.com/office/drawing/2014/main" id="{AD0138F4-7988-4474-BDE9-A8353D3059E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038600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forbindelse 45">
            <a:extLst>
              <a:ext uri="{FF2B5EF4-FFF2-40B4-BE49-F238E27FC236}">
                <a16:creationId xmlns:a16="http://schemas.microsoft.com/office/drawing/2014/main" id="{5C4B4344-A7C0-4688-8B4B-5BFCD010200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562350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ge forbindelse 60">
            <a:extLst>
              <a:ext uri="{FF2B5EF4-FFF2-40B4-BE49-F238E27FC236}">
                <a16:creationId xmlns:a16="http://schemas.microsoft.com/office/drawing/2014/main" id="{00D7223F-2CCC-415A-97D8-296D50DDAE9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101975" y="2263775"/>
            <a:ext cx="0" cy="40132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Lige forbindelse 61">
            <a:extLst>
              <a:ext uri="{FF2B5EF4-FFF2-40B4-BE49-F238E27FC236}">
                <a16:creationId xmlns:a16="http://schemas.microsoft.com/office/drawing/2014/main" id="{C790747A-BAD0-4228-9484-E61C4E86195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496675" y="2263775"/>
            <a:ext cx="0" cy="40132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Lige forbindelse 185">
            <a:extLst>
              <a:ext uri="{FF2B5EF4-FFF2-40B4-BE49-F238E27FC236}">
                <a16:creationId xmlns:a16="http://schemas.microsoft.com/office/drawing/2014/main" id="{633AD433-70CA-4AE4-9BF2-881E64985129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9655175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Lige forbindelse 154">
            <a:extLst>
              <a:ext uri="{FF2B5EF4-FFF2-40B4-BE49-F238E27FC236}">
                <a16:creationId xmlns:a16="http://schemas.microsoft.com/office/drawing/2014/main" id="{DB6501DC-A108-4450-993B-D5589FF5A13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307263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Lige forbindelse 120">
            <a:extLst>
              <a:ext uri="{FF2B5EF4-FFF2-40B4-BE49-F238E27FC236}">
                <a16:creationId xmlns:a16="http://schemas.microsoft.com/office/drawing/2014/main" id="{39206699-F974-4E3B-9CA7-E850A81A87B6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4498975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Lige forbindelse 122">
            <a:extLst>
              <a:ext uri="{FF2B5EF4-FFF2-40B4-BE49-F238E27FC236}">
                <a16:creationId xmlns:a16="http://schemas.microsoft.com/office/drawing/2014/main" id="{B865B857-C071-498F-9F4B-FA2E5ABCCC5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44988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Lige forbindelse 123">
            <a:extLst>
              <a:ext uri="{FF2B5EF4-FFF2-40B4-BE49-F238E27FC236}">
                <a16:creationId xmlns:a16="http://schemas.microsoft.com/office/drawing/2014/main" id="{4A8EBD4E-CC17-454D-BF50-D95DB2942EA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589438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Lige forbindelse 124">
            <a:extLst>
              <a:ext uri="{FF2B5EF4-FFF2-40B4-BE49-F238E27FC236}">
                <a16:creationId xmlns:a16="http://schemas.microsoft.com/office/drawing/2014/main" id="{8FD56870-7300-48F3-AE23-6C6242495B16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637063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Lige forbindelse 125">
            <a:extLst>
              <a:ext uri="{FF2B5EF4-FFF2-40B4-BE49-F238E27FC236}">
                <a16:creationId xmlns:a16="http://schemas.microsoft.com/office/drawing/2014/main" id="{005B4941-4882-4410-8FE5-D32B135B4F2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6831013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Lige forbindelse 155">
            <a:extLst>
              <a:ext uri="{FF2B5EF4-FFF2-40B4-BE49-F238E27FC236}">
                <a16:creationId xmlns:a16="http://schemas.microsoft.com/office/drawing/2014/main" id="{1528EFA6-8666-48AE-A697-89FCD2C22C98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76763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Lige forbindelse 182">
            <a:extLst>
              <a:ext uri="{FF2B5EF4-FFF2-40B4-BE49-F238E27FC236}">
                <a16:creationId xmlns:a16="http://schemas.microsoft.com/office/drawing/2014/main" id="{C77AE55E-E5B8-4AEE-8B47-2FCE7A86B07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8243888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Lige forbindelse 1">
            <a:extLst>
              <a:ext uri="{FF2B5EF4-FFF2-40B4-BE49-F238E27FC236}">
                <a16:creationId xmlns:a16="http://schemas.microsoft.com/office/drawing/2014/main" id="{9F0DC192-C26E-46F3-B654-B2CB4731C9B1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9178925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Lige forbindelse 186">
            <a:extLst>
              <a:ext uri="{FF2B5EF4-FFF2-40B4-BE49-F238E27FC236}">
                <a16:creationId xmlns:a16="http://schemas.microsoft.com/office/drawing/2014/main" id="{8936751A-05AF-4352-9374-C20FD9D6349D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0115550" y="2263775"/>
            <a:ext cx="0" cy="4013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Lige forbindelse 72">
            <a:extLst>
              <a:ext uri="{FF2B5EF4-FFF2-40B4-BE49-F238E27FC236}">
                <a16:creationId xmlns:a16="http://schemas.microsoft.com/office/drawing/2014/main" id="{8DC3AEC0-BC82-4123-B8D1-E1285A1DD471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69888" y="3281363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Lige forbindelse 74">
            <a:extLst>
              <a:ext uri="{FF2B5EF4-FFF2-40B4-BE49-F238E27FC236}">
                <a16:creationId xmlns:a16="http://schemas.microsoft.com/office/drawing/2014/main" id="{FE6DFD32-B2ED-46DB-B892-3ED917E17E6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369888" y="4587875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71965541-E5CE-4DA9-8EF3-FB70F419CA4A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369888" y="4238625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Lige forbindelse 83">
            <a:extLst>
              <a:ext uri="{FF2B5EF4-FFF2-40B4-BE49-F238E27FC236}">
                <a16:creationId xmlns:a16="http://schemas.microsoft.com/office/drawing/2014/main" id="{57F27B27-CA23-476E-8347-989E861059F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369888" y="5926138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ge forbindelse 79">
            <a:extLst>
              <a:ext uri="{FF2B5EF4-FFF2-40B4-BE49-F238E27FC236}">
                <a16:creationId xmlns:a16="http://schemas.microsoft.com/office/drawing/2014/main" id="{FF002980-4212-465D-983F-44EECE043A53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369888" y="5257800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ge forbindelse 73">
            <a:extLst>
              <a:ext uri="{FF2B5EF4-FFF2-40B4-BE49-F238E27FC236}">
                <a16:creationId xmlns:a16="http://schemas.microsoft.com/office/drawing/2014/main" id="{699B1CE7-45E2-40E3-9665-51DB4A8044C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369888" y="3919538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Lige forbindelse 43">
            <a:extLst>
              <a:ext uri="{FF2B5EF4-FFF2-40B4-BE49-F238E27FC236}">
                <a16:creationId xmlns:a16="http://schemas.microsoft.com/office/drawing/2014/main" id="{B2EC204B-FA0C-4EA6-9102-7E12AF0E6179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69888" y="2932113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ge forbindelse 75">
            <a:extLst>
              <a:ext uri="{FF2B5EF4-FFF2-40B4-BE49-F238E27FC236}">
                <a16:creationId xmlns:a16="http://schemas.microsoft.com/office/drawing/2014/main" id="{9F983E03-AFC1-4B4A-97A1-946E933EFBE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369888" y="4906963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ge forbindelse 44">
            <a:extLst>
              <a:ext uri="{FF2B5EF4-FFF2-40B4-BE49-F238E27FC236}">
                <a16:creationId xmlns:a16="http://schemas.microsoft.com/office/drawing/2014/main" id="{93940DA7-DAA6-4398-9DA3-E5EC384D6481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369888" y="3600450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Lige forbindelse 71">
            <a:extLst>
              <a:ext uri="{FF2B5EF4-FFF2-40B4-BE49-F238E27FC236}">
                <a16:creationId xmlns:a16="http://schemas.microsoft.com/office/drawing/2014/main" id="{8EB90769-E3E3-4FC5-B0BF-A371335987F8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369888" y="2582863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7A080D6A-7DE7-4FE7-8604-3CA82669F18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369888" y="5607050"/>
            <a:ext cx="11126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Lige forbindelse 64">
            <a:extLst>
              <a:ext uri="{FF2B5EF4-FFF2-40B4-BE49-F238E27FC236}">
                <a16:creationId xmlns:a16="http://schemas.microsoft.com/office/drawing/2014/main" id="{313D67B2-0D43-49CB-9292-3CB2F67A5B34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369888" y="6276975"/>
            <a:ext cx="111267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DE67CBF9-90E4-4B70-9126-9E7D9227AAB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8704263" y="2263775"/>
            <a:ext cx="0" cy="4176713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Lige forbindelse 273">
            <a:extLst>
              <a:ext uri="{FF2B5EF4-FFF2-40B4-BE49-F238E27FC236}">
                <a16:creationId xmlns:a16="http://schemas.microsoft.com/office/drawing/2014/main" id="{C7E4F9C0-8C8D-415F-8979-E8503409A0EC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8274050" y="2263775"/>
            <a:ext cx="0" cy="4176713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ge forbindelse 63">
            <a:extLst>
              <a:ext uri="{FF2B5EF4-FFF2-40B4-BE49-F238E27FC236}">
                <a16:creationId xmlns:a16="http://schemas.microsoft.com/office/drawing/2014/main" id="{28489A50-B12B-46F3-9F36-6A2F2E782A28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369888" y="2263775"/>
            <a:ext cx="111267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ktangel 14">
            <a:extLst>
              <a:ext uri="{FF2B5EF4-FFF2-40B4-BE49-F238E27FC236}">
                <a16:creationId xmlns:a16="http://schemas.microsoft.com/office/drawing/2014/main" id="{962B2FEE-8E5D-4A31-A2EB-762AB4C085E6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8382000" y="5467350"/>
            <a:ext cx="2101850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32052BD0-FFAD-41A6-BEE9-807FB424B43F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8488363" y="4448175"/>
            <a:ext cx="184150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F53F2BDB-D11C-41D0-B322-B407DB4E770A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8382001" y="2974975"/>
            <a:ext cx="2009775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0" name="Rektangel 279">
            <a:extLst>
              <a:ext uri="{FF2B5EF4-FFF2-40B4-BE49-F238E27FC236}">
                <a16:creationId xmlns:a16="http://schemas.microsoft.com/office/drawing/2014/main" id="{3D072045-0483-40D2-B992-0B76E7F02265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8382000" y="2625725"/>
            <a:ext cx="796925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9CFC5C61-5D4B-4AAA-854F-B4559CD66366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8382001" y="2792413"/>
            <a:ext cx="322263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2" name="Rektangel 281">
            <a:extLst>
              <a:ext uri="{FF2B5EF4-FFF2-40B4-BE49-F238E27FC236}">
                <a16:creationId xmlns:a16="http://schemas.microsoft.com/office/drawing/2014/main" id="{B40950BF-33A1-40CC-976E-B4FF6889EF0A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5480050" y="2974975"/>
            <a:ext cx="1350963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1" name="Rektangel 300">
            <a:extLst>
              <a:ext uri="{FF2B5EF4-FFF2-40B4-BE49-F238E27FC236}">
                <a16:creationId xmlns:a16="http://schemas.microsoft.com/office/drawing/2014/main" id="{F2DD80E3-17D9-4EF6-842F-F9DAAF0D522F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5373689" y="5467350"/>
            <a:ext cx="1457325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9" name="Rektangel 278">
            <a:extLst>
              <a:ext uri="{FF2B5EF4-FFF2-40B4-BE49-F238E27FC236}">
                <a16:creationId xmlns:a16="http://schemas.microsoft.com/office/drawing/2014/main" id="{4FBC6DBC-E7F8-4EC0-9A2B-918EAB32EA44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6554788" y="2625725"/>
            <a:ext cx="1150938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7" name="Rektangel 286">
            <a:extLst>
              <a:ext uri="{FF2B5EF4-FFF2-40B4-BE49-F238E27FC236}">
                <a16:creationId xmlns:a16="http://schemas.microsoft.com/office/drawing/2014/main" id="{B709168E-1479-4A78-BB59-C7A03E19F724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3106738" y="3324225"/>
            <a:ext cx="7008813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0" name="Rektangel 289">
            <a:extLst>
              <a:ext uri="{FF2B5EF4-FFF2-40B4-BE49-F238E27FC236}">
                <a16:creationId xmlns:a16="http://schemas.microsoft.com/office/drawing/2014/main" id="{7A2742C2-2AE0-45A1-BED1-7E801F7B740A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6554789" y="4281488"/>
            <a:ext cx="2117725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6" name="Rektangel 285">
            <a:extLst>
              <a:ext uri="{FF2B5EF4-FFF2-40B4-BE49-F238E27FC236}">
                <a16:creationId xmlns:a16="http://schemas.microsoft.com/office/drawing/2014/main" id="{74FA6755-63D2-4AA4-BB5C-8900A9FE6441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8948739" y="3141663"/>
            <a:ext cx="1166813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4" name="Rektangel 303">
            <a:extLst>
              <a:ext uri="{FF2B5EF4-FFF2-40B4-BE49-F238E27FC236}">
                <a16:creationId xmlns:a16="http://schemas.microsoft.com/office/drawing/2014/main" id="{C280892D-FBD3-4B5E-83EE-20C671175B42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4298951" y="5969000"/>
            <a:ext cx="4589463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8" name="Rektangel 287">
            <a:extLst>
              <a:ext uri="{FF2B5EF4-FFF2-40B4-BE49-F238E27FC236}">
                <a16:creationId xmlns:a16="http://schemas.microsoft.com/office/drawing/2014/main" id="{EF975D37-FA16-4A3D-8800-C8C3B85759C8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5373688" y="3643313"/>
            <a:ext cx="4281488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Rektangel 288">
            <a:extLst>
              <a:ext uri="{FF2B5EF4-FFF2-40B4-BE49-F238E27FC236}">
                <a16:creationId xmlns:a16="http://schemas.microsoft.com/office/drawing/2014/main" id="{46014838-5ADA-4031-9DC8-BD76D7EF923F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4729163" y="3962400"/>
            <a:ext cx="4679950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2" name="Rektangel 291">
            <a:extLst>
              <a:ext uri="{FF2B5EF4-FFF2-40B4-BE49-F238E27FC236}">
                <a16:creationId xmlns:a16="http://schemas.microsoft.com/office/drawing/2014/main" id="{B489782C-0701-4515-AE9B-45775FE3F422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6769101" y="4448175"/>
            <a:ext cx="936625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4" name="Rektangel 293">
            <a:extLst>
              <a:ext uri="{FF2B5EF4-FFF2-40B4-BE49-F238E27FC236}">
                <a16:creationId xmlns:a16="http://schemas.microsoft.com/office/drawing/2014/main" id="{457DF706-22FC-40AA-9FFF-479B02C204F8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5480050" y="4630738"/>
            <a:ext cx="4175125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7" name="Rektangel 296">
            <a:extLst>
              <a:ext uri="{FF2B5EF4-FFF2-40B4-BE49-F238E27FC236}">
                <a16:creationId xmlns:a16="http://schemas.microsoft.com/office/drawing/2014/main" id="{535178B7-98A5-4433-AB61-C7520FF6D76F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4038601" y="4949825"/>
            <a:ext cx="2792413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8" name="Rektangel 297">
            <a:extLst>
              <a:ext uri="{FF2B5EF4-FFF2-40B4-BE49-F238E27FC236}">
                <a16:creationId xmlns:a16="http://schemas.microsoft.com/office/drawing/2014/main" id="{C9D93C1E-8C76-468D-A49E-83F6272E5108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4513263" y="5118100"/>
            <a:ext cx="2317750" cy="79375"/>
          </a:xfrm>
          <a:prstGeom prst="rect">
            <a:avLst/>
          </a:prstGeom>
          <a:solidFill>
            <a:srgbClr val="2E4194"/>
          </a:solidFill>
          <a:ln w="19050" cap="flat" cmpd="sng" algn="ctr">
            <a:solidFill>
              <a:srgbClr val="2E41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0" name="Rektangel 299">
            <a:extLst>
              <a:ext uri="{FF2B5EF4-FFF2-40B4-BE49-F238E27FC236}">
                <a16:creationId xmlns:a16="http://schemas.microsoft.com/office/drawing/2014/main" id="{CA51D044-50E3-4CE1-9659-A0C38B4F31F1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3106739" y="5300663"/>
            <a:ext cx="8385175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5" name="Rektangel 274">
            <a:extLst>
              <a:ext uri="{FF2B5EF4-FFF2-40B4-BE49-F238E27FC236}">
                <a16:creationId xmlns:a16="http://schemas.microsoft.com/office/drawing/2014/main" id="{05FECB2C-209F-4797-90FA-4EB0ABF03EFB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3106739" y="2306638"/>
            <a:ext cx="3878263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2" name="Rektangel 301">
            <a:extLst>
              <a:ext uri="{FF2B5EF4-FFF2-40B4-BE49-F238E27FC236}">
                <a16:creationId xmlns:a16="http://schemas.microsoft.com/office/drawing/2014/main" id="{2AB13E8E-3289-4584-AC8E-ADF489857AA1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3440113" y="5649913"/>
            <a:ext cx="7842250" cy="79375"/>
          </a:xfrm>
          <a:prstGeom prst="rect">
            <a:avLst/>
          </a:prstGeom>
          <a:solidFill>
            <a:srgbClr val="6A6158"/>
          </a:solidFill>
          <a:ln w="19050" cap="flat" cmpd="sng" algn="ctr">
            <a:solidFill>
              <a:srgbClr val="6A615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4" name="Ligebenet trekant 283">
            <a:extLst>
              <a:ext uri="{FF2B5EF4-FFF2-40B4-BE49-F238E27FC236}">
                <a16:creationId xmlns:a16="http://schemas.microsoft.com/office/drawing/2014/main" id="{EFD5AABD-6A8B-4F7C-8E53-C8F9BD5A9493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9121775" y="63833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Ligebenet trekant 39">
            <a:extLst>
              <a:ext uri="{FF2B5EF4-FFF2-40B4-BE49-F238E27FC236}">
                <a16:creationId xmlns:a16="http://schemas.microsoft.com/office/drawing/2014/main" id="{E06B9685-5161-4F1E-8E5F-ECEC8D639CE8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8647113" y="63833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3" name="Ligebenet trekant 272">
            <a:extLst>
              <a:ext uri="{FF2B5EF4-FFF2-40B4-BE49-F238E27FC236}">
                <a16:creationId xmlns:a16="http://schemas.microsoft.com/office/drawing/2014/main" id="{848D95E7-2268-4DF5-8D0A-AABD1E402D82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8216900" y="63833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3" name="Pladsholder til tekst 2">
            <a:extLst>
              <a:ext uri="{FF2B5EF4-FFF2-40B4-BE49-F238E27FC236}">
                <a16:creationId xmlns:a16="http://schemas.microsoft.com/office/drawing/2014/main" id="{EAEB9705-B735-441C-9F9D-15E7A228DD70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441325" y="6116638"/>
            <a:ext cx="1751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arbejdere, forældre og elever</a:t>
            </a:r>
          </a:p>
        </p:txBody>
      </p:sp>
      <p:sp>
        <p:nvSpPr>
          <p:cNvPr id="68" name="Pladsholder til tekst 2">
            <a:extLst>
              <a:ext uri="{FF2B5EF4-FFF2-40B4-BE49-F238E27FC236}">
                <a16:creationId xmlns:a16="http://schemas.microsoft.com/office/drawing/2014/main" id="{FE2A12C5-8816-421C-8682-7574F4F3D328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441325" y="4262438"/>
            <a:ext cx="2055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5: Nedlukning af gamle elev-fildrev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41325" y="3943350"/>
            <a:ext cx="21764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5: Teknisk: Windows miljøet tilpasses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justeres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441325" y="2955925"/>
            <a:ext cx="2135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3: Indsamling af gammelt elevudstyr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441325" y="2606675"/>
            <a:ext cx="18256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Spor 2: Udlevering af Chromebooks</a:t>
            </a:r>
          </a:p>
        </p:txBody>
      </p:sp>
      <p:sp>
        <p:nvSpPr>
          <p:cNvPr id="82" name="Pladsholder til tekst 2">
            <a:extLst>
              <a:ext uri="{FF2B5EF4-FFF2-40B4-BE49-F238E27FC236}">
                <a16:creationId xmlns:a16="http://schemas.microsoft.com/office/drawing/2014/main" id="{03B36653-61CC-4A66-A78A-E05000053146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441325" y="5949950"/>
            <a:ext cx="1831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9: Kommunikationsmaterialer,</a:t>
            </a:r>
          </a:p>
        </p:txBody>
      </p:sp>
      <p:sp>
        <p:nvSpPr>
          <p:cNvPr id="69" name="Pladsholder til tekst 2">
            <a:extLst>
              <a:ext uri="{FF2B5EF4-FFF2-40B4-BE49-F238E27FC236}">
                <a16:creationId xmlns:a16="http://schemas.microsoft.com/office/drawing/2014/main" id="{27BD6892-4486-40D7-A223-CF3F89955A88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441325" y="4611688"/>
            <a:ext cx="19367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6: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Site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pport - Tilpasning af 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opgaver og træning</a:t>
            </a:r>
          </a:p>
        </p:txBody>
      </p:sp>
      <p:sp>
        <p:nvSpPr>
          <p:cNvPr id="67" name="Pladsholder til tekst 2">
            <a:extLst>
              <a:ext uri="{FF2B5EF4-FFF2-40B4-BE49-F238E27FC236}">
                <a16:creationId xmlns:a16="http://schemas.microsoft.com/office/drawing/2014/main" id="{7F95C956-72E0-462B-B7BA-5F8618F98DDB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41325" y="2287588"/>
            <a:ext cx="21891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Spor 1:  Indkøb: Kravsspecifikation, udbud 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og forhandling samt kontrakt</a:t>
            </a:r>
          </a:p>
        </p:txBody>
      </p:sp>
      <p:sp>
        <p:nvSpPr>
          <p:cNvPr id="70" name="Pladsholder til tekst 2">
            <a:extLst>
              <a:ext uri="{FF2B5EF4-FFF2-40B4-BE49-F238E27FC236}">
                <a16:creationId xmlns:a16="http://schemas.microsoft.com/office/drawing/2014/main" id="{09E7891E-D05E-4DBC-BFC3-454D64B167BD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441325" y="4930775"/>
            <a:ext cx="258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7: Skoleledelse: forberedelse og dialogmøder</a:t>
            </a:r>
          </a:p>
        </p:txBody>
      </p:sp>
      <p:sp>
        <p:nvSpPr>
          <p:cNvPr id="71" name="Pladsholder til tekst 2">
            <a:extLst>
              <a:ext uri="{FF2B5EF4-FFF2-40B4-BE49-F238E27FC236}">
                <a16:creationId xmlns:a16="http://schemas.microsoft.com/office/drawing/2014/main" id="{3D999CE1-2B48-48A8-BC29-29A9E4D1DC00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441325" y="5281613"/>
            <a:ext cx="2498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7 og 8: Lokale pædagogiske it-handleplaner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41325" y="2047875"/>
            <a:ext cx="787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Aktiviteter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441325" y="3305175"/>
            <a:ext cx="21351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4: Teknisk: G Suite- og Chromebook-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jøet tilpasses og justeres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9" name="Pladsholder til tekst 2">
            <a:extLst>
              <a:ext uri="{FF2B5EF4-FFF2-40B4-BE49-F238E27FC236}">
                <a16:creationId xmlns:a16="http://schemas.microsoft.com/office/drawing/2014/main" id="{633C79DB-614E-45A6-B488-6E199AFA3ED7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441325" y="5448300"/>
            <a:ext cx="1450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kompetenceløft (G Suite)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9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8802688" y="6303963"/>
            <a:ext cx="576263" cy="2730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lev-fildrev</a:t>
            </a:r>
            <a:b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</a:b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lukker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1" name="Pladsholder til tekst 2">
            <a:extLst>
              <a:ext uri="{FF2B5EF4-FFF2-40B4-BE49-F238E27FC236}">
                <a16:creationId xmlns:a16="http://schemas.microsoft.com/office/drawing/2014/main" id="{D401C8B3-91EF-49ED-BBCA-08AC6433AA7A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441325" y="5630863"/>
            <a:ext cx="22320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8: Pædagogisk it-understøttelse, De32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vejledningsmaterialer, anvendels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A8298264-4DB6-4CE0-B3AC-6F225EFAEA0A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441325" y="3624263"/>
            <a:ext cx="21875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 5: Teknisk: pædagogiske iPads/apple-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jøet tilpasses og justeres</a:t>
            </a:r>
          </a:p>
        </p:txBody>
      </p:sp>
      <p:sp useBgFill="1">
        <p:nvSpPr>
          <p:cNvPr id="272" name="Pladsholder til tekst 2">
            <a:extLst>
              <a:ext uri="{FF2B5EF4-FFF2-40B4-BE49-F238E27FC236}">
                <a16:creationId xmlns:a16="http://schemas.microsoft.com/office/drawing/2014/main" id="{5DCD7356-6AC1-4164-B821-0B00E1FC638F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7458075" y="6303963"/>
            <a:ext cx="717550" cy="2730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levering af</a:t>
            </a:r>
            <a:b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a-DK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omebooks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E8C3117-9750-4C07-A8EE-E8EC95A789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599" y="311794"/>
            <a:ext cx="9600878" cy="454655"/>
          </a:xfrm>
        </p:spPr>
        <p:txBody>
          <a:bodyPr/>
          <a:lstStyle/>
          <a:p>
            <a:r>
              <a:rPr lang="da-DK"/>
              <a:t>Bilag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06B053A-8D6A-4DDB-96CC-04E7D264F1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599" y="860099"/>
            <a:ext cx="9600878" cy="454655"/>
          </a:xfrm>
        </p:spPr>
        <p:txBody>
          <a:bodyPr/>
          <a:lstStyle/>
          <a:p>
            <a:r>
              <a:rPr lang="da-DK"/>
              <a:t>Tidslinje for projektet</a:t>
            </a:r>
          </a:p>
        </p:txBody>
      </p:sp>
      <p:sp>
        <p:nvSpPr>
          <p:cNvPr id="103" name="Rektangel 102">
            <a:extLst>
              <a:ext uri="{FF2B5EF4-FFF2-40B4-BE49-F238E27FC236}">
                <a16:creationId xmlns:a16="http://schemas.microsoft.com/office/drawing/2014/main" id="{7FB2F56A-6711-4972-8ADF-5C5181896E9E}"/>
              </a:ext>
            </a:extLst>
          </p:cNvPr>
          <p:cNvSpPr/>
          <p:nvPr/>
        </p:nvSpPr>
        <p:spPr>
          <a:xfrm>
            <a:off x="3085515" y="6362701"/>
            <a:ext cx="1525800" cy="249450"/>
          </a:xfrm>
          <a:prstGeom prst="rect">
            <a:avLst/>
          </a:prstGeom>
          <a:solidFill>
            <a:srgbClr val="2E41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>
                <a:cs typeface="Calibri"/>
              </a:rPr>
              <a:t>Skoleopgave</a:t>
            </a:r>
          </a:p>
        </p:txBody>
      </p:sp>
      <p:sp>
        <p:nvSpPr>
          <p:cNvPr id="104" name="Rektangel 103">
            <a:extLst>
              <a:ext uri="{FF2B5EF4-FFF2-40B4-BE49-F238E27FC236}">
                <a16:creationId xmlns:a16="http://schemas.microsoft.com/office/drawing/2014/main" id="{3133806D-2C24-4B55-853A-78EC87851EBF}"/>
              </a:ext>
            </a:extLst>
          </p:cNvPr>
          <p:cNvSpPr/>
          <p:nvPr/>
        </p:nvSpPr>
        <p:spPr>
          <a:xfrm>
            <a:off x="4742865" y="6362700"/>
            <a:ext cx="1525800" cy="249450"/>
          </a:xfrm>
          <a:prstGeom prst="rect">
            <a:avLst/>
          </a:prstGeom>
          <a:solidFill>
            <a:srgbClr val="6A61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err="1">
                <a:cs typeface="Calibri"/>
              </a:rPr>
              <a:t>Projektetopgave</a:t>
            </a:r>
            <a:endParaRPr lang="da-DK" sz="1400" b="1" err="1"/>
          </a:p>
        </p:txBody>
      </p:sp>
    </p:spTree>
    <p:extLst>
      <p:ext uri="{BB962C8B-B14F-4D97-AF65-F5344CB8AC3E}">
        <p14:creationId xmlns:p14="http://schemas.microsoft.com/office/powerpoint/2010/main" val="1171317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DE530BC-0AC2-4FFE-9A96-5517C0214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599" y="632772"/>
            <a:ext cx="9600878" cy="454655"/>
          </a:xfrm>
        </p:spPr>
        <p:txBody>
          <a:bodyPr anchor="t"/>
          <a:lstStyle/>
          <a:p>
            <a:r>
              <a:rPr lang="da-DK">
                <a:latin typeface="Arial"/>
                <a:cs typeface="Arial"/>
              </a:rPr>
              <a:t>Om materialet</a:t>
            </a:r>
          </a:p>
          <a:p>
            <a:pPr algn="ctr">
              <a:lnSpc>
                <a:spcPts val="2300"/>
              </a:lnSpc>
            </a:pPr>
            <a:endParaRPr lang="da-DK"/>
          </a:p>
          <a:p>
            <a:pPr>
              <a:lnSpc>
                <a:spcPts val="2300"/>
              </a:lnSpc>
            </a:pPr>
            <a:r>
              <a:rPr lang="da-DK" sz="1800" b="0">
                <a:latin typeface="Arial"/>
                <a:cs typeface="Arial"/>
              </a:rPr>
              <a:t>Præsentationen er udarbejdet som inspirationsmateriale, som I kan anvende sammen med MED-udvalget og evt. Efterfølgende på personalemøder på skolen til at drøfte 1:1-ordningen. </a:t>
            </a:r>
            <a:endParaRPr lang="da-DK" sz="1800" b="0"/>
          </a:p>
          <a:p>
            <a:pPr>
              <a:lnSpc>
                <a:spcPts val="2300"/>
              </a:lnSpc>
            </a:pPr>
            <a:r>
              <a:rPr lang="da-DK" sz="1800" b="0">
                <a:latin typeface="Arial"/>
                <a:cs typeface="Arial"/>
              </a:rPr>
              <a:t>Projektet har udarbejdet materialet til jer med udgangspunkt i </a:t>
            </a:r>
            <a:r>
              <a:rPr lang="da-DK" sz="1800" b="0" err="1">
                <a:latin typeface="Arial"/>
                <a:cs typeface="Arial"/>
              </a:rPr>
              <a:t>HMU’s</a:t>
            </a:r>
            <a:r>
              <a:rPr lang="da-DK" sz="1800" b="0">
                <a:latin typeface="Arial"/>
                <a:cs typeface="Arial"/>
              </a:rPr>
              <a:t> ønske om, at vi i Børn og Unge laver risikovurderinger, når vi implementerer større forandringer. </a:t>
            </a:r>
          </a:p>
          <a:p>
            <a:pPr>
              <a:lnSpc>
                <a:spcPts val="2300"/>
              </a:lnSpc>
            </a:pPr>
            <a:r>
              <a:rPr lang="da-DK" sz="1800" b="0">
                <a:latin typeface="Arial"/>
                <a:cs typeface="Arial"/>
              </a:rPr>
              <a:t>Materialet tager udgangspunkt i den politiske beslutning, der er truffet om 1:1-ordningen, og rummer baggrundsinformation og forslag til relevante drøftelser. I kan anvende hele eller dele af materialet, og vi opfordrer jer til at justere eller supplere med lokale overvejelser eller andet indhold, som er relevant.</a:t>
            </a:r>
            <a:endParaRPr lang="da-DK"/>
          </a:p>
          <a:p>
            <a:pPr>
              <a:lnSpc>
                <a:spcPts val="2300"/>
              </a:lnSpc>
            </a:pPr>
            <a:r>
              <a:rPr lang="da-DK" sz="1800" b="0">
                <a:latin typeface="Arial"/>
                <a:cs typeface="Arial"/>
              </a:rPr>
              <a:t>Vi håber, at materialet er en hjælp.</a:t>
            </a:r>
          </a:p>
          <a:p>
            <a:pPr>
              <a:lnSpc>
                <a:spcPts val="2300"/>
              </a:lnSpc>
            </a:pPr>
            <a:r>
              <a:rPr lang="da-DK" sz="1800" b="0">
                <a:latin typeface="Arial"/>
                <a:cs typeface="Arial"/>
                <a:hlinkClick r:id="rId3"/>
              </a:rPr>
              <a:t>Information om materialet er med i Ugepakken (uge 10)</a:t>
            </a:r>
            <a:endParaRPr lang="da-DK" sz="1800" b="0" i="1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2DB4A22-E17C-428F-9F50-E32B6F9D9C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599" y="1087563"/>
            <a:ext cx="9464401" cy="466028"/>
          </a:xfrm>
        </p:spPr>
        <p:txBody>
          <a:bodyPr anchor="t"/>
          <a:lstStyle/>
          <a:p>
            <a:r>
              <a:rPr lang="da-DK"/>
              <a:t>Inspirationsmateriale til drøftelser med MED-udvalget</a:t>
            </a:r>
          </a:p>
        </p:txBody>
      </p:sp>
    </p:spTree>
    <p:extLst>
      <p:ext uri="{BB962C8B-B14F-4D97-AF65-F5344CB8AC3E}">
        <p14:creationId xmlns:p14="http://schemas.microsoft.com/office/powerpoint/2010/main" val="1343530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E31AA95-64F7-43B3-A6FA-611567F992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t"/>
          <a:lstStyle/>
          <a:p>
            <a:r>
              <a:rPr lang="da-DK">
                <a:latin typeface="Arial"/>
                <a:cs typeface="Arial"/>
              </a:rPr>
              <a:t>Risikovurdering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C570350-FFE0-4DDF-9F41-38FAB09A90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Chromebooks til eleverne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42883B01-2FC6-4AE2-8F35-FBD5509369C0}"/>
              </a:ext>
            </a:extLst>
          </p:cNvPr>
          <p:cNvSpPr txBox="1"/>
          <p:nvPr/>
        </p:nvSpPr>
        <p:spPr>
          <a:xfrm>
            <a:off x="365761" y="1561328"/>
            <a:ext cx="9610844" cy="28220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000"/>
              </a:spcBef>
            </a:pPr>
            <a:r>
              <a:rPr lang="da-DK">
                <a:solidFill>
                  <a:srgbClr val="2E4194"/>
                </a:solidFill>
                <a:latin typeface="Arial"/>
                <a:cs typeface="Arial"/>
              </a:rPr>
              <a:t>HMU har besluttet, at der skal foretages risikovurdering ved større forandringer. Formålet med at lave en risikovurdering er at forebygge eller minimere påvirkninger af arbejdsmiljøet i negativ retning.</a:t>
            </a:r>
            <a:endParaRPr lang="da-DK"/>
          </a:p>
          <a:p>
            <a:pPr>
              <a:lnSpc>
                <a:spcPts val="2300"/>
              </a:lnSpc>
              <a:spcBef>
                <a:spcPts val="1000"/>
              </a:spcBef>
            </a:pPr>
            <a:r>
              <a:rPr lang="da-DK">
                <a:solidFill>
                  <a:srgbClr val="2E4194"/>
                </a:solidFill>
                <a:latin typeface="Arial"/>
                <a:cs typeface="Arial"/>
              </a:rPr>
              <a:t>I kan anvende risikovurderingsværktøjet, som er udviklet af HAU, til projektet Chromebooks til eleverne. </a:t>
            </a:r>
          </a:p>
          <a:p>
            <a:pPr>
              <a:lnSpc>
                <a:spcPts val="2300"/>
              </a:lnSpc>
              <a:spcBef>
                <a:spcPts val="1000"/>
              </a:spcBef>
            </a:pPr>
            <a:r>
              <a:rPr lang="da-DK">
                <a:solidFill>
                  <a:srgbClr val="2E4194"/>
                </a:solidFill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 finder værktøjet til risikovurderingen her på AarhusIntra</a:t>
            </a:r>
            <a:endParaRPr lang="da-DK">
              <a:solidFill>
                <a:srgbClr val="2E4194"/>
              </a:solidFill>
              <a:latin typeface="Arial"/>
              <a:cs typeface="Arial"/>
            </a:endParaRPr>
          </a:p>
          <a:p>
            <a:pPr>
              <a:lnSpc>
                <a:spcPts val="2300"/>
              </a:lnSpc>
              <a:spcBef>
                <a:spcPts val="1000"/>
              </a:spcBef>
            </a:pPr>
            <a:r>
              <a:rPr lang="da-DK">
                <a:solidFill>
                  <a:srgbClr val="2E4194"/>
                </a:solidFill>
                <a:latin typeface="Arial"/>
                <a:cs typeface="Arial"/>
              </a:rPr>
              <a:t>Projektet anbefaler, at I anvender værktøjet som et rammeværk for jeres drøftelse og samtidigt forholder jer til, om det dækker relevante aspekter eller emner hos jer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782668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588986B-D7D3-4AF1-8995-50071DA77A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Om projektet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DE530BC-0AC2-4FFE-9A96-5517C02140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599" y="1112348"/>
            <a:ext cx="7457980" cy="454655"/>
          </a:xfrm>
        </p:spPr>
        <p:txBody>
          <a:bodyPr/>
          <a:lstStyle/>
          <a:p>
            <a:pPr>
              <a:lnSpc>
                <a:spcPts val="2300"/>
              </a:lnSpc>
            </a:pPr>
            <a:r>
              <a:rPr lang="da-DK" sz="1400" i="0"/>
              <a:t>Efter sommerferien vil alle elever fra 2. til 10. klasse få stillet en personlig computer til rådighed, som de kan bruge i skoletiden og derhjemme, indtil de forlader folkeskolen. Det giver eleverne lige adgang til it-udstyr uafhængigt at forældrenes og skolernes økonomi. Alle skoler implementerer 1:1-ordningen i august 2020. Det er op til den enkelte skole, om eleverne i 0. og 1. klasse også skal have Chromebooks</a:t>
            </a:r>
          </a:p>
          <a:p>
            <a:pPr>
              <a:lnSpc>
                <a:spcPts val="2300"/>
              </a:lnSpc>
            </a:pPr>
            <a:r>
              <a:rPr lang="da-DK" sz="1400" i="0"/>
              <a:t>Når alle elever møder op til undervisningen med samme computer, træder teknologien i baggrunden. Der vil være mindre it-bøvl og nemmere adgang til de digitale platforme og - læremidler, som skolen anvender. Det giver mere tid til at sætte fokus på læring og pædagogik i timerne. Medarbejderne vil også kunne planlægge efter, at alle elever har en computer, som de kan anvende i skoletiden og derhjemme. Det betyder, at det vil blive nemmere at arbejde med pædagogisk it, når det giver mening ud fra et pædagogisk og didaktisk synspunkt.</a:t>
            </a:r>
          </a:p>
          <a:p>
            <a:pPr>
              <a:lnSpc>
                <a:spcPts val="2300"/>
              </a:lnSpc>
            </a:pPr>
            <a:r>
              <a:rPr lang="da-DK" sz="1400"/>
              <a:t>Initiativet er vedtaget af et flertal i byrådet 11. september 2019. </a:t>
            </a:r>
            <a:br>
              <a:rPr lang="da-DK" sz="1400"/>
            </a:br>
            <a:r>
              <a:rPr lang="da-DK" sz="1400">
                <a:hlinkClick r:id="rId2"/>
              </a:rPr>
              <a:t>Se byrådsindstillingen og pressemeddelelsen</a:t>
            </a:r>
            <a:r>
              <a:rPr lang="da-DK" sz="1400"/>
              <a:t>.</a:t>
            </a:r>
          </a:p>
          <a:p>
            <a:pPr>
              <a:lnSpc>
                <a:spcPts val="2300"/>
              </a:lnSpc>
            </a:pPr>
            <a:r>
              <a:rPr lang="da-DK" sz="1400" i="0"/>
              <a:t> </a:t>
            </a:r>
          </a:p>
          <a:p>
            <a:pPr algn="ctr"/>
            <a:endParaRPr lang="da-DK"/>
          </a:p>
          <a:p>
            <a:pPr algn="ctr"/>
            <a:endParaRPr lang="da-DK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5EDF31E7-6A3E-4166-AD79-ADF6CD2F7A7A}"/>
              </a:ext>
            </a:extLst>
          </p:cNvPr>
          <p:cNvSpPr/>
          <p:nvPr/>
        </p:nvSpPr>
        <p:spPr>
          <a:xfrm>
            <a:off x="7827579" y="1923633"/>
            <a:ext cx="3564000" cy="3564000"/>
          </a:xfrm>
          <a:prstGeom prst="ellipse">
            <a:avLst/>
          </a:prstGeom>
          <a:noFill/>
          <a:ln w="57150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10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5059FB-E4B9-4221-9845-915DDDEA854C}"/>
              </a:ext>
            </a:extLst>
          </p:cNvPr>
          <p:cNvSpPr txBox="1"/>
          <p:nvPr/>
        </p:nvSpPr>
        <p:spPr>
          <a:xfrm>
            <a:off x="7827579" y="2059629"/>
            <a:ext cx="3564000" cy="34086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lighed for at</a:t>
            </a:r>
            <a:b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ætte mere fokus på didaktik</a:t>
            </a:r>
            <a:b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pædagogik i timerne</a:t>
            </a:r>
          </a:p>
          <a:p>
            <a:pPr marL="0" marR="0" lvl="0" indent="0" algn="ctr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mmere at arbejde med pædagogisk it</a:t>
            </a:r>
            <a:b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skolen og hjemme, når det giver mening</a:t>
            </a:r>
            <a:b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og I kan planlægge efter det</a:t>
            </a:r>
          </a:p>
          <a:p>
            <a:pPr marL="0" marR="0" lvl="0" indent="0" algn="ctr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e elever får adgang til læse-/skrivestøtte</a:t>
            </a:r>
          </a:p>
          <a:p>
            <a:pPr marL="0" marR="0" lvl="0" indent="0" algn="ctr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>
                <a:solidFill>
                  <a:srgbClr val="6A61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ceudvikling ift. brug</a:t>
            </a:r>
            <a:br>
              <a:rPr lang="da-DK" sz="1200" b="1">
                <a:solidFill>
                  <a:srgbClr val="6A6158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200" b="1">
                <a:solidFill>
                  <a:srgbClr val="6A61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 pædagogisk 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0484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DE085AEB-A5D5-4CE2-90B3-6DE37BE685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t"/>
          <a:lstStyle/>
          <a:p>
            <a:r>
              <a:rPr lang="da-DK" sz="3200">
                <a:latin typeface="Arial"/>
                <a:cs typeface="Arial"/>
              </a:rPr>
              <a:t>Hvad betyder det for hverdagen på skolen? </a:t>
            </a:r>
            <a:endParaRPr lang="da-DK">
              <a:solidFill>
                <a:srgbClr val="FF0000"/>
              </a:solidFill>
            </a:endParaRPr>
          </a:p>
        </p:txBody>
      </p:sp>
      <p:sp>
        <p:nvSpPr>
          <p:cNvPr id="8" name="Pladsholder til tekst 1">
            <a:extLst>
              <a:ext uri="{FF2B5EF4-FFF2-40B4-BE49-F238E27FC236}">
                <a16:creationId xmlns:a16="http://schemas.microsoft.com/office/drawing/2014/main" id="{B0494C09-EEC5-4701-A93A-11BC1BD2FF0B}"/>
              </a:ext>
            </a:extLst>
          </p:cNvPr>
          <p:cNvSpPr txBox="1">
            <a:spLocks/>
          </p:cNvSpPr>
          <p:nvPr/>
        </p:nvSpPr>
        <p:spPr>
          <a:xfrm>
            <a:off x="369599" y="1137763"/>
            <a:ext cx="9600878" cy="4582474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b="1" kern="1200">
                <a:solidFill>
                  <a:srgbClr val="2E419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Skolen skal tage stilling til, hvordan I vil arbejde med pædagogisk it. Når eleverne får Chromebooks, betyder det ikke nødvendigvis mere it i undervisningen, men derimod at det bliver nemmere at arbejde med pædagogisk it, når det giver me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I skal have styr på anvendelsen af den pædagogiske it-platform G Suite for Education fx at kunne gemme og dele materialer samt anvende kontorpakken (skrive-, regne-, og præsentationsprogrammer) med eleverne. Skolen kan booke De32 til praksisnær kompetenceudvikl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I kan planlægge efter, at eleverne har en Chromebook, som de kan anvende i undervisningen og derhjem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Alle elever får adgang til læse-/skrivestøtte. KCL vil udbyde kurser i værktøjer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Skolens it-supporter vil tage imod Chromebooks, som er i stykker og skal til reparation. Skolen får ekstra Chromebooks, som elever kan låne midlertidigt, fx hvis eleverne har glemt den hjemme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I skal arbejde med elevernes adfærd. Har I fx udarbejdet regler for, hvordan eleverne skal håndtere Chromebooken på skolen/transport/hjemme? Projektet udarbejder materiale målrettet forældre og elever. Fx om hvordan de passer godt på deres Chromebook og forældrenes rolle. </a:t>
            </a:r>
            <a:endParaRPr lang="da-DK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0" dirty="0">
                <a:latin typeface="Arial"/>
                <a:cs typeface="Arial"/>
              </a:rPr>
              <a:t>Skolerne får en enkel procedure for ønsker til udvidelser og apps til G Suite miljøet. Hvis udvidelsen ikke allerede eksisterer og er sikker, vil den blive godkendt. </a:t>
            </a:r>
            <a:endParaRPr lang="da-DK" sz="1600" b="0"/>
          </a:p>
          <a:p>
            <a:pPr lvl="0"/>
            <a:br>
              <a:rPr lang="da-DK" sz="1600" b="0" dirty="0"/>
            </a:br>
            <a:endParaRPr lang="da-DK" sz="1600" b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sz="1600" b="0"/>
          </a:p>
        </p:txBody>
      </p:sp>
    </p:spTree>
    <p:extLst>
      <p:ext uri="{BB962C8B-B14F-4D97-AF65-F5344CB8AC3E}">
        <p14:creationId xmlns:p14="http://schemas.microsoft.com/office/powerpoint/2010/main" val="3245259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dsholder til tekst 44">
            <a:extLst>
              <a:ext uri="{FF2B5EF4-FFF2-40B4-BE49-F238E27FC236}">
                <a16:creationId xmlns:a16="http://schemas.microsoft.com/office/drawing/2014/main" id="{88DA6F0A-CEE4-4384-B7E8-DFD5DC33D5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Opgaveplan til skoleledelsen</a:t>
            </a: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AFE247B2-569A-46A0-8E62-1E3012AD39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Kræver lokal tilpasning 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8E10DE1F-D510-402F-8A21-FBA2068D19C6}"/>
              </a:ext>
            </a:extLst>
          </p:cNvPr>
          <p:cNvCxnSpPr>
            <a:cxnSpLocks/>
          </p:cNvCxnSpPr>
          <p:nvPr/>
        </p:nvCxnSpPr>
        <p:spPr>
          <a:xfrm>
            <a:off x="1269599" y="3428999"/>
            <a:ext cx="9537283" cy="6379"/>
          </a:xfrm>
          <a:prstGeom prst="line">
            <a:avLst/>
          </a:prstGeom>
          <a:ln w="28575">
            <a:solidFill>
              <a:srgbClr val="6A61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8EE25B0C-87DF-4B23-86BF-14807DF390CA}"/>
              </a:ext>
            </a:extLst>
          </p:cNvPr>
          <p:cNvSpPr/>
          <p:nvPr/>
        </p:nvSpPr>
        <p:spPr>
          <a:xfrm>
            <a:off x="369599" y="1255780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. – juli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ering af G Suite som pædagogisk platform. </a:t>
            </a:r>
            <a:r>
              <a:rPr kumimoji="0" lang="da-DK" sz="1050" b="0" i="0" u="none" strike="noStrike" kern="1200" cap="none" spc="0" normalizeH="0" baseline="0" noProof="0" err="1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mpetenceaf</a:t>
            </a: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dækning og plan for medarbejdere</a:t>
            </a:r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E8144E05-99F3-4435-AF45-7A6A1084B991}"/>
              </a:ext>
            </a:extLst>
          </p:cNvPr>
          <p:cNvSpPr/>
          <p:nvPr/>
        </p:nvSpPr>
        <p:spPr>
          <a:xfrm>
            <a:off x="2754890" y="1255780"/>
            <a:ext cx="1800000" cy="1800000"/>
          </a:xfrm>
          <a:prstGeom prst="ellipse">
            <a:avLst/>
          </a:prstGeom>
          <a:noFill/>
          <a:ln w="57150">
            <a:solidFill>
              <a:srgbClr val="6A615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/>
                <a:cs typeface="Arial"/>
              </a:rPr>
              <a:t>Marts – juni 2020</a:t>
            </a:r>
          </a:p>
          <a:p>
            <a:pPr algn="ctr"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/>
                <a:cs typeface="Arial"/>
              </a:rPr>
              <a:t>Plan og evt. politik for opbevaring og brug af Chromebooks –</a:t>
            </a:r>
            <a:r>
              <a:rPr lang="da-DK" sz="1050">
                <a:solidFill>
                  <a:srgbClr val="6A6158"/>
                </a:solidFill>
                <a:latin typeface="Arial"/>
                <a:cs typeface="Arial"/>
              </a:rPr>
              <a:t>Risikovurdering og evt</a:t>
            </a: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/>
                <a:cs typeface="Arial"/>
              </a:rPr>
              <a:t>. involvering af</a:t>
            </a:r>
            <a:r>
              <a:rPr lang="da-DK" sz="1050">
                <a:solidFill>
                  <a:srgbClr val="6A6158"/>
                </a:solidFill>
                <a:latin typeface="Arial"/>
                <a:cs typeface="Arial"/>
              </a:rPr>
              <a:t> skolebestyrelse</a:t>
            </a:r>
            <a:endParaRPr lang="da-DK" sz="105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BB95B44-A44A-43FB-AD8D-31B45A63319C}"/>
              </a:ext>
            </a:extLst>
          </p:cNvPr>
          <p:cNvSpPr/>
          <p:nvPr/>
        </p:nvSpPr>
        <p:spPr>
          <a:xfrm>
            <a:off x="5137248" y="1266004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ltimo juni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sering af videndeling om didaktisk brug af G Suite i undervisningen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89008E83-E554-4CDD-B5DD-31D473075116}"/>
              </a:ext>
            </a:extLst>
          </p:cNvPr>
          <p:cNvSpPr/>
          <p:nvPr/>
        </p:nvSpPr>
        <p:spPr>
          <a:xfrm>
            <a:off x="8568023" y="3781175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t. – nov.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amling af ældre elevudsty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4699077E-E5C2-481D-AD18-867A6F587DD4}"/>
              </a:ext>
            </a:extLst>
          </p:cNvPr>
          <p:cNvSpPr/>
          <p:nvPr/>
        </p:nvSpPr>
        <p:spPr>
          <a:xfrm>
            <a:off x="1453509" y="3802220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. – juni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for nye medarbejdere og vikarer ifm. anvendelse af G Sui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66D35E05-DFDD-4665-B643-1132D9B094EB}"/>
              </a:ext>
            </a:extLst>
          </p:cNvPr>
          <p:cNvSpPr/>
          <p:nvPr/>
        </p:nvSpPr>
        <p:spPr>
          <a:xfrm>
            <a:off x="3829355" y="3802220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ts – juni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erne skal flytte indhold fra de eksisterende </a:t>
            </a:r>
            <a:r>
              <a:rPr kumimoji="0" lang="da-DK" sz="1200" b="0" i="0" u="none" strike="noStrike" kern="1200" cap="none" spc="0" normalizeH="0" baseline="0" noProof="0" err="1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fildrev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il </a:t>
            </a: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 Suite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F623EE2B-05FE-4254-921C-B45913ADBF60}"/>
              </a:ext>
            </a:extLst>
          </p:cNvPr>
          <p:cNvSpPr/>
          <p:nvPr/>
        </p:nvSpPr>
        <p:spPr>
          <a:xfrm>
            <a:off x="6198689" y="3808599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ust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dlevering af Chromebooks, sleeve og vejledningsmate-</a:t>
            </a:r>
            <a:r>
              <a:rPr kumimoji="0" lang="da-DK" sz="1050" b="0" i="0" u="none" strike="noStrike" kern="1200" cap="none" spc="0" normalizeH="0" baseline="0" noProof="0" err="1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ale</a:t>
            </a: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il eleverne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2C6090A3-64B5-4898-B5AD-79223FE2EC84}"/>
              </a:ext>
            </a:extLst>
          </p:cNvPr>
          <p:cNvSpPr/>
          <p:nvPr/>
        </p:nvSpPr>
        <p:spPr>
          <a:xfrm>
            <a:off x="9907830" y="1258969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. 2020 – marts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øveafvikling i G Suite i et fælles </a:t>
            </a:r>
            <a:r>
              <a:rPr kumimoji="0" lang="da-DK" sz="1050" b="0" i="0" u="none" strike="noStrike" kern="1200" cap="none" spc="0" normalizeH="0" baseline="0" noProof="0" err="1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tup</a:t>
            </a:r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1A27F44C-5E5B-4ECE-91EE-41544C06CD45}"/>
              </a:ext>
            </a:extLst>
          </p:cNvPr>
          <p:cNvCxnSpPr>
            <a:cxnSpLocks/>
            <a:stCxn id="6" idx="4"/>
          </p:cNvCxnSpPr>
          <p:nvPr/>
        </p:nvCxnSpPr>
        <p:spPr>
          <a:xfrm>
            <a:off x="1269599" y="3055780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899BFB8F-3CF8-46B2-8356-DD4D7D5BA07F}"/>
              </a:ext>
            </a:extLst>
          </p:cNvPr>
          <p:cNvCxnSpPr>
            <a:cxnSpLocks/>
          </p:cNvCxnSpPr>
          <p:nvPr/>
        </p:nvCxnSpPr>
        <p:spPr>
          <a:xfrm>
            <a:off x="3664126" y="3055780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0165E960-632B-4471-BAF5-79EA9376BF1C}"/>
              </a:ext>
            </a:extLst>
          </p:cNvPr>
          <p:cNvCxnSpPr>
            <a:cxnSpLocks/>
          </p:cNvCxnSpPr>
          <p:nvPr/>
        </p:nvCxnSpPr>
        <p:spPr>
          <a:xfrm>
            <a:off x="6037248" y="3066004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C9CBC1AB-684B-4D04-870E-2573288864B0}"/>
              </a:ext>
            </a:extLst>
          </p:cNvPr>
          <p:cNvCxnSpPr>
            <a:cxnSpLocks/>
          </p:cNvCxnSpPr>
          <p:nvPr/>
        </p:nvCxnSpPr>
        <p:spPr>
          <a:xfrm>
            <a:off x="9468023" y="3431647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A9E93958-2F62-4A8B-8F6B-61BB57D2B0B7}"/>
              </a:ext>
            </a:extLst>
          </p:cNvPr>
          <p:cNvCxnSpPr>
            <a:cxnSpLocks/>
          </p:cNvCxnSpPr>
          <p:nvPr/>
        </p:nvCxnSpPr>
        <p:spPr>
          <a:xfrm>
            <a:off x="2347944" y="3428999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CF029B9D-DCAE-4356-A888-25915E963C94}"/>
              </a:ext>
            </a:extLst>
          </p:cNvPr>
          <p:cNvCxnSpPr>
            <a:cxnSpLocks/>
          </p:cNvCxnSpPr>
          <p:nvPr/>
        </p:nvCxnSpPr>
        <p:spPr>
          <a:xfrm>
            <a:off x="4733026" y="3428999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C27F2670-89DC-46B4-905B-5DF1BC454753}"/>
              </a:ext>
            </a:extLst>
          </p:cNvPr>
          <p:cNvCxnSpPr>
            <a:cxnSpLocks/>
          </p:cNvCxnSpPr>
          <p:nvPr/>
        </p:nvCxnSpPr>
        <p:spPr>
          <a:xfrm>
            <a:off x="7088505" y="3435378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58C82119-AAC0-4D5C-8A9D-397CAD4C21DC}"/>
              </a:ext>
            </a:extLst>
          </p:cNvPr>
          <p:cNvCxnSpPr>
            <a:cxnSpLocks/>
          </p:cNvCxnSpPr>
          <p:nvPr/>
        </p:nvCxnSpPr>
        <p:spPr>
          <a:xfrm>
            <a:off x="10806882" y="3053065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ktangel 33">
            <a:extLst>
              <a:ext uri="{FF2B5EF4-FFF2-40B4-BE49-F238E27FC236}">
                <a16:creationId xmlns:a16="http://schemas.microsoft.com/office/drawing/2014/main" id="{4B4E553F-CC79-4CD7-BB80-5118FABEF39E}"/>
              </a:ext>
            </a:extLst>
          </p:cNvPr>
          <p:cNvSpPr/>
          <p:nvPr/>
        </p:nvSpPr>
        <p:spPr>
          <a:xfrm>
            <a:off x="429442" y="3285839"/>
            <a:ext cx="784933" cy="286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 2020</a:t>
            </a:r>
            <a:endParaRPr kumimoji="0" lang="da-DK" sz="1800" b="1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71CA2A61-665C-4B4A-B454-02CB3B6A12FD}"/>
              </a:ext>
            </a:extLst>
          </p:cNvPr>
          <p:cNvSpPr/>
          <p:nvPr/>
        </p:nvSpPr>
        <p:spPr>
          <a:xfrm>
            <a:off x="10830868" y="3285839"/>
            <a:ext cx="784933" cy="286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ts 2021</a:t>
            </a:r>
            <a:endParaRPr kumimoji="0" lang="da-DK" sz="1800" b="1" i="0" u="none" strike="noStrike" kern="1200" cap="none" spc="0" normalizeH="0" baseline="0" noProof="0">
              <a:ln>
                <a:noFill/>
              </a:ln>
              <a:solidFill>
                <a:srgbClr val="6A61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2DD0E3DC-08D4-47A7-B7BD-786CAD9A0216}"/>
              </a:ext>
            </a:extLst>
          </p:cNvPr>
          <p:cNvSpPr/>
          <p:nvPr/>
        </p:nvSpPr>
        <p:spPr>
          <a:xfrm>
            <a:off x="7522539" y="1253065"/>
            <a:ext cx="1800000" cy="1800000"/>
          </a:xfrm>
          <a:prstGeom prst="ellipse">
            <a:avLst/>
          </a:prstGeom>
          <a:noFill/>
          <a:ln w="28575">
            <a:solidFill>
              <a:srgbClr val="6A6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tember 20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mle </a:t>
            </a:r>
            <a:r>
              <a:rPr kumimoji="0" lang="da-DK" sz="1050" b="0" i="0" u="none" strike="noStrike" kern="1200" cap="none" spc="0" normalizeH="0" baseline="0" noProof="0" err="1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fildrev</a:t>
            </a:r>
            <a:r>
              <a:rPr kumimoji="0" lang="da-DK" sz="1050" b="0" i="0" u="none" strike="noStrike" kern="1200" cap="none" spc="0" normalizeH="0" baseline="0" noProof="0">
                <a:ln>
                  <a:noFill/>
                </a:ln>
                <a:solidFill>
                  <a:srgbClr val="6A61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ukker </a:t>
            </a:r>
          </a:p>
        </p:txBody>
      </p:sp>
      <p:cxnSp>
        <p:nvCxnSpPr>
          <p:cNvPr id="38" name="Lige forbindelse 37">
            <a:extLst>
              <a:ext uri="{FF2B5EF4-FFF2-40B4-BE49-F238E27FC236}">
                <a16:creationId xmlns:a16="http://schemas.microsoft.com/office/drawing/2014/main" id="{BB9CD894-F644-46B0-B553-A5FE9FEC45DF}"/>
              </a:ext>
            </a:extLst>
          </p:cNvPr>
          <p:cNvCxnSpPr>
            <a:cxnSpLocks/>
          </p:cNvCxnSpPr>
          <p:nvPr/>
        </p:nvCxnSpPr>
        <p:spPr>
          <a:xfrm>
            <a:off x="8422539" y="3053065"/>
            <a:ext cx="0" cy="373219"/>
          </a:xfrm>
          <a:prstGeom prst="line">
            <a:avLst/>
          </a:prstGeom>
          <a:ln w="19050">
            <a:solidFill>
              <a:srgbClr val="6A61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ktangel 46">
            <a:extLst>
              <a:ext uri="{FF2B5EF4-FFF2-40B4-BE49-F238E27FC236}">
                <a16:creationId xmlns:a16="http://schemas.microsoft.com/office/drawing/2014/main" id="{0B84E917-A593-4B43-9801-93110AE0C611}"/>
              </a:ext>
            </a:extLst>
          </p:cNvPr>
          <p:cNvSpPr/>
          <p:nvPr/>
        </p:nvSpPr>
        <p:spPr>
          <a:xfrm>
            <a:off x="1709928" y="5666536"/>
            <a:ext cx="1800000" cy="2313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941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BCA76609-043A-4052-8D62-228534291CCC}"/>
              </a:ext>
            </a:extLst>
          </p:cNvPr>
          <p:cNvSpPr txBox="1">
            <a:spLocks/>
          </p:cNvSpPr>
          <p:nvPr/>
        </p:nvSpPr>
        <p:spPr>
          <a:xfrm>
            <a:off x="369599" y="1480017"/>
            <a:ext cx="9811549" cy="4869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31419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800" b="1">
                <a:solidFill>
                  <a:srgbClr val="2E4194"/>
                </a:solidFill>
                <a:latin typeface="Arial"/>
                <a:cs typeface="Arial"/>
              </a:rPr>
              <a:t>Medarbejd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solidFill>
                  <a:srgbClr val="2E4194"/>
                </a:solidFill>
              </a:rPr>
              <a:t>Hvad betyder de nye Chromebooks for jeres pædagogiske værdi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Har medarbejderne nok viden om, hvornår det giver mening at bruge pædagogisk it i undervisning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Skal der udarbejdes en forventningsramme for, hvordan og hvornår undervisningen skal være digital eller analog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Hvilke medarbejdere skal involveres i lokale drøftelser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Har medarbejderne nok viden om brugen af Chromebooks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latin typeface="Arial"/>
                <a:cs typeface="Arial"/>
              </a:rPr>
              <a:t>Har vi brug for hjælp til at komme godt i gang? Fx book De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latin typeface="Arial"/>
                <a:cs typeface="Arial"/>
              </a:rPr>
              <a:t>Har vi prioriteret tid til at fokusere på det, der er særligt vigtigt for os? Fx kompetenceudvikling, brugen af </a:t>
            </a:r>
            <a:r>
              <a:rPr lang="da-DK" sz="1800" err="1">
                <a:latin typeface="Arial"/>
                <a:cs typeface="Arial"/>
              </a:rPr>
              <a:t>GSfE</a:t>
            </a:r>
            <a:r>
              <a:rPr lang="da-DK" sz="1800">
                <a:latin typeface="Arial"/>
                <a:cs typeface="Arial"/>
              </a:rPr>
              <a:t> i undervisningen, viden om det digitale, er alle fagteams klar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>
                <a:latin typeface="Arial"/>
                <a:cs typeface="Arial"/>
              </a:rPr>
              <a:t>Hvordan får vi bedst delt viden og erfaring om brugen af it i undervisningen? </a:t>
            </a:r>
            <a:endParaRPr lang="da-DK" sz="2000"/>
          </a:p>
          <a:p>
            <a:endParaRPr lang="da-DK" sz="2000"/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DE085AEB-A5D5-4CE2-90B3-6DE37BE685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sz="3200"/>
              <a:t>Temaer til drøftelse</a:t>
            </a:r>
          </a:p>
          <a:p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FD9B28D-24A1-42F0-B5B6-8CBB8A6169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Hvordan kommer I godt i gang med de nye Chromebooks?</a:t>
            </a:r>
          </a:p>
        </p:txBody>
      </p:sp>
    </p:spTree>
    <p:extLst>
      <p:ext uri="{BB962C8B-B14F-4D97-AF65-F5344CB8AC3E}">
        <p14:creationId xmlns:p14="http://schemas.microsoft.com/office/powerpoint/2010/main" val="4013350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BCA76609-043A-4052-8D62-228534291CCC}"/>
              </a:ext>
            </a:extLst>
          </p:cNvPr>
          <p:cNvSpPr txBox="1">
            <a:spLocks/>
          </p:cNvSpPr>
          <p:nvPr/>
        </p:nvSpPr>
        <p:spPr>
          <a:xfrm>
            <a:off x="466936" y="1479327"/>
            <a:ext cx="9503541" cy="4869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31419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800" b="1" dirty="0">
                <a:solidFill>
                  <a:srgbClr val="2E4194"/>
                </a:solidFill>
                <a:latin typeface="Arial"/>
                <a:cs typeface="Arial"/>
              </a:rPr>
              <a:t>Elever og foræl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2E4194"/>
                </a:solidFill>
                <a:latin typeface="Arial"/>
                <a:cs typeface="Arial"/>
              </a:rPr>
              <a:t>Hvordan sikrer vi god adfærd, så der bliver passet godt på Chromebooken bl.a. ved transport, opbevaring og opladn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2E4194"/>
                </a:solidFill>
                <a:latin typeface="Arial"/>
                <a:cs typeface="Arial"/>
              </a:rPr>
              <a:t>Hvordan kan I forberede både elever og forældre bedst muligt? </a:t>
            </a:r>
            <a:br>
              <a:rPr lang="da-DK" sz="1800" dirty="0">
                <a:latin typeface="Arial"/>
                <a:cs typeface="Arial"/>
              </a:rPr>
            </a:br>
            <a:r>
              <a:rPr lang="da-DK" sz="1800" dirty="0">
                <a:solidFill>
                  <a:srgbClr val="2E4194"/>
                </a:solidFill>
                <a:latin typeface="Arial"/>
                <a:cs typeface="Arial"/>
              </a:rPr>
              <a:t>Fx undervisning, forældremøder, information, kickoff. </a:t>
            </a:r>
            <a:br>
              <a:rPr lang="da-DK" sz="1800" dirty="0">
                <a:latin typeface="Arial"/>
                <a:cs typeface="Arial"/>
              </a:rPr>
            </a:br>
            <a:endParaRPr lang="da-DK" sz="1800">
              <a:solidFill>
                <a:srgbClr val="2E4194"/>
              </a:solidFill>
              <a:latin typeface="Arial"/>
              <a:cs typeface="Arial"/>
            </a:endParaRPr>
          </a:p>
          <a:p>
            <a:r>
              <a:rPr lang="da-DK" sz="1800" dirty="0">
                <a:solidFill>
                  <a:srgbClr val="2E4194"/>
                </a:solidFill>
                <a:latin typeface="Arial"/>
                <a:cs typeface="Arial"/>
              </a:rPr>
              <a:t>Forældre og elever vil modtage informationsmateriale om Chromebooks, som bl.a. løbende bliver tilgængelige på </a:t>
            </a:r>
            <a:r>
              <a:rPr lang="da-DK" sz="1800" dirty="0">
                <a:solidFill>
                  <a:srgbClr val="2E4194"/>
                </a:solidFill>
                <a:latin typeface="Arial"/>
                <a:cs typeface="Arial"/>
                <a:hlinkClick r:id="rId3"/>
              </a:rPr>
              <a:t>aarhus.dk/chromebook</a:t>
            </a:r>
            <a:r>
              <a:rPr lang="da-DK" sz="1800" dirty="0">
                <a:solidFill>
                  <a:srgbClr val="2E4194"/>
                </a:solidFill>
                <a:latin typeface="Arial"/>
                <a:cs typeface="Arial"/>
              </a:rPr>
              <a:t>. Skolerne vil modtage materiale, som I kan anvende på skolen for at komme godt i gang med de nye Chromebooks. </a:t>
            </a:r>
          </a:p>
          <a:p>
            <a:r>
              <a:rPr lang="da-DK" sz="1800" b="1" dirty="0">
                <a:latin typeface="Arial"/>
                <a:cs typeface="Arial"/>
              </a:rPr>
              <a:t>Andet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1800" dirty="0">
                <a:latin typeface="Arial"/>
                <a:cs typeface="Arial"/>
              </a:rPr>
              <a:t>Er der noget andet, vi skal have på plads inden sommerferien for at komme godt fra start?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1800" dirty="0">
                <a:latin typeface="Arial"/>
                <a:cs typeface="Arial"/>
              </a:rPr>
              <a:t>Er der områder, som vi skal gøre mere eller mindre ved?</a:t>
            </a:r>
          </a:p>
          <a:p>
            <a:endParaRPr lang="da-DK" sz="1800">
              <a:latin typeface="Arial"/>
              <a:cs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sz="1800">
              <a:latin typeface="Arial"/>
              <a:cs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sz="2800">
              <a:solidFill>
                <a:srgbClr val="FF0000"/>
              </a:solidFill>
            </a:endParaRPr>
          </a:p>
          <a:p>
            <a:endParaRPr lang="da-DK" sz="20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000"/>
          </a:p>
          <a:p>
            <a:endParaRPr lang="da-DK" sz="2000"/>
          </a:p>
          <a:p>
            <a:endParaRPr lang="da-DK" sz="2000"/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DE085AEB-A5D5-4CE2-90B3-6DE37BE685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sz="3200"/>
              <a:t>Temaer til drøftelse</a:t>
            </a:r>
          </a:p>
          <a:p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FD9B28D-24A1-42F0-B5B6-8CBB8A6169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Hvordan kommer I godt i gang med de nye Chromebooks?</a:t>
            </a:r>
          </a:p>
        </p:txBody>
      </p:sp>
    </p:spTree>
    <p:extLst>
      <p:ext uri="{BB962C8B-B14F-4D97-AF65-F5344CB8AC3E}">
        <p14:creationId xmlns:p14="http://schemas.microsoft.com/office/powerpoint/2010/main" val="981833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BCA76609-043A-4052-8D62-228534291CCC}"/>
              </a:ext>
            </a:extLst>
          </p:cNvPr>
          <p:cNvSpPr txBox="1">
            <a:spLocks/>
          </p:cNvSpPr>
          <p:nvPr/>
        </p:nvSpPr>
        <p:spPr>
          <a:xfrm>
            <a:off x="375250" y="1553702"/>
            <a:ext cx="9595227" cy="219674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31419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b="1">
                <a:latin typeface="Arial"/>
                <a:cs typeface="Arial"/>
              </a:rPr>
              <a:t>Har vi </a:t>
            </a:r>
            <a:r>
              <a:rPr lang="da-DK" sz="1800" b="1">
                <a:solidFill>
                  <a:srgbClr val="2E4194"/>
                </a:solidFill>
                <a:latin typeface="Arial"/>
                <a:cs typeface="Arial"/>
              </a:rPr>
              <a:t>brug for anden involvering på skolen</a:t>
            </a:r>
          </a:p>
          <a:p>
            <a:pPr marL="1028700" lvl="1" indent="-342900"/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Er der andre interessenter og grupper, som skal inddrages i drøftelse og tiltag på skolen:</a:t>
            </a:r>
          </a:p>
          <a:p>
            <a:pPr marL="1485900" lvl="2" indent="-342900"/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Skolebestyrelsen?</a:t>
            </a:r>
          </a:p>
          <a:p>
            <a:pPr marL="1485900" lvl="2" indent="-342900"/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It-udvalget, PLC-teamet, fagudvalg eller andre?</a:t>
            </a:r>
          </a:p>
          <a:p>
            <a:pPr marL="1485900" lvl="2" indent="-342900"/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Andre faglige udvalg?</a:t>
            </a:r>
          </a:p>
          <a:p>
            <a:pPr marL="1485900" lvl="2" indent="-342900"/>
            <a:endParaRPr lang="da-DK" sz="1100">
              <a:solidFill>
                <a:srgbClr val="2E4194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b="1">
                <a:solidFill>
                  <a:srgbClr val="2E4194"/>
                </a:solidFill>
                <a:latin typeface="Arial"/>
                <a:cs typeface="Arial"/>
              </a:rPr>
              <a:t>Opfølgning på vores risikovurdering</a:t>
            </a:r>
          </a:p>
          <a:p>
            <a:pPr marL="1028700" lvl="1" indent="-342900"/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Skal resultaterne af vores risikovurdering deles med nogen – og hvordan?</a:t>
            </a:r>
          </a:p>
          <a:p>
            <a:pPr marL="1485900" lvl="2" indent="-342900"/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Er der noget input, som vi ønsker at sende retur til projektet? </a:t>
            </a:r>
            <a:br>
              <a:rPr lang="da-DK" sz="1400">
                <a:solidFill>
                  <a:srgbClr val="2E4194"/>
                </a:solidFill>
                <a:latin typeface="Arial"/>
                <a:cs typeface="Arial"/>
              </a:rPr>
            </a:br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Kontakt Lone </a:t>
            </a:r>
            <a:r>
              <a:rPr lang="da-DK" sz="1400" err="1">
                <a:solidFill>
                  <a:srgbClr val="2E4194"/>
                </a:solidFill>
                <a:latin typeface="Arial"/>
                <a:cs typeface="Arial"/>
              </a:rPr>
              <a:t>Juric</a:t>
            </a:r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 Sørensen, </a:t>
            </a:r>
            <a:r>
              <a:rPr lang="da-DK" sz="1400">
                <a:solidFill>
                  <a:srgbClr val="2E4194"/>
                </a:solidFill>
                <a:latin typeface="Arial"/>
                <a:cs typeface="Arial"/>
                <a:hlinkClick r:id="rId3"/>
              </a:rPr>
              <a:t>lojs@aarhus.dk</a:t>
            </a:r>
            <a:r>
              <a:rPr lang="da-DK" sz="1400">
                <a:solidFill>
                  <a:srgbClr val="2E4194"/>
                </a:solidFill>
                <a:latin typeface="Arial"/>
                <a:cs typeface="Arial"/>
              </a:rPr>
              <a:t> </a:t>
            </a:r>
          </a:p>
          <a:p>
            <a:pPr marL="1028700" lvl="1" indent="-342900"/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Hvem skal følge op på de handlinger, som vi aftalt?</a:t>
            </a:r>
          </a:p>
          <a:p>
            <a:pPr marL="1028700" lvl="1" indent="-342900"/>
            <a:r>
              <a:rPr lang="da-DK" sz="1800">
                <a:solidFill>
                  <a:srgbClr val="2E4194"/>
                </a:solidFill>
                <a:latin typeface="Arial"/>
                <a:cs typeface="Arial"/>
              </a:rPr>
              <a:t>Hvornår skal vi følge op?</a:t>
            </a:r>
          </a:p>
          <a:p>
            <a:endParaRPr lang="da-DK" sz="1400"/>
          </a:p>
          <a:p>
            <a:endParaRPr lang="da-DK" sz="1400">
              <a:solidFill>
                <a:srgbClr val="2E4194"/>
              </a:solidFill>
              <a:latin typeface="Arial"/>
              <a:cs typeface="Arial"/>
            </a:endParaRPr>
          </a:p>
          <a:p>
            <a:endParaRPr lang="da-DK" sz="20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/>
          </a:p>
          <a:p>
            <a:endParaRPr lang="da-DK" sz="1600"/>
          </a:p>
          <a:p>
            <a:endParaRPr lang="da-DK" sz="1600"/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DE085AEB-A5D5-4CE2-90B3-6DE37BE685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sz="3200"/>
              <a:t>Risikovurdering 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5F0D32D-4212-4011-886E-55E7DFD0FB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Supplerende spørgsmål til risikovurderingen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5716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"/>
  <p:tag name="ARTICULATE_DESIGN_ID_TEMA 1 TIL EN" val="6OMOFjGC"/>
  <p:tag name="ARTICULATE_DESIGN_ID_BRUGERDEFINERET DESIGN" val="KliVvA3z"/>
  <p:tag name="ARTICULATE_DESIGN_ID_1_BRUGERDEFINERET DESIGN" val="BtlZb1M2"/>
  <p:tag name="ARTICULATE_PROJECT_OPEN" val="0"/>
  <p:tag name="ARTICULATE_DESIGN_ID_2_BRUGERDEFINERET DESIGN" val="Dv9u48QZ"/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fQ3EPntxt_zmxyOWg6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GQpthMU76QH35YpPMu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yekNkbL2za1Uk2H2P4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Q_jeEbHX4jddQNyGq0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obOrv0rGUwDxDfI9xj6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sa29dduvR.eDngeoMM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tmfvZLJ0GMvCZFqFaCH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Abga2iHJofb83.IiR2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EvyPNOIQdv8N8JNFN7E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9PCwc5TcXTQ2wz5B89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GkvZ_ln7GJ6d8ZevGL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EGMPnvVdWNs_g52Wcc4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MOllgNgltSVYlT8Eu_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2xt7ecapyOIHIVoc5ga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eXvYoRxd_RNed2OOqv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PTNnHPfOaHdH2edJ6q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14zxlK.PorMJCGjsQp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HIvZokRSjcKHF4gFA3h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bTf5TrS6BdA9S2bk9Ux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OHQRYfSIUO89Tgpw4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_RXBIo5ZjoPL3lPtFB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3nywAYgORZSgdn_OkM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R_h_oWSo1XiqJIy4_IV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9y0LEUuvmwtEyqFV5I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GTckiqUTeIcxA6L4BtG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qfVDcrHkX2ROx4uBYg4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tYFBYfuE_e_GnSWWqms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auq0yupgIt.3YLzDo97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2Pjym8MsrMPdPBDgzJi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cgvNopME4fvfAE507J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JuWoliED18EisyU5S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MbKonZhgp0U1WjoLKE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hQVk492o4BFi84YbfS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3NyCpiTirbuWdNYILV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Y9sE9xAMAq5uWtmsqT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EOGWb7SkckLlm2RKpH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ETOKZj4D0qLrMLQWI.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bz8.8EUm3t.sInWOd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gR80LplRG1.9kIkRUu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wmjAf8BfZ.wycW1FC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O2Say7v86UEZkX.f.b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dXdldJKMPjpP0_Z5Q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DzfZViFmx.FK3A.my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i1nSdjau3JiyaA75a4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KRpAy6tq0kaAnoRJq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rUdW5zM4sBWs2oQS2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0rdaK6K859fpbn1WY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BWs.zshqJDBqrE9_5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gbPHHw212WkXx4WCxux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4C6flwFSIKmc1DHkd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0k0gnwhkxDMC84p9Sa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zYnUp8jBV5CVm.0aoj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0WLkaaek90vE3_veA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iiSlmKMHIYozqfmU5D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8w0R_ETt1wLmIjThX8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0Sqg_0Dy9YCwzac48H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Jj49v6xM8dXiyA41gL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rXZ_tuZ4pMyPUHcJ68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gbKmdq_ViB9MEl.lxN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ma0qmdBrfXdNsKfJo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4wPrw1R_MhWEIV1h4w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xIVEdlBaFbTcW4B.Up0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9sEzFGMPNS6pizmWNO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36s5fssaQ9HWnVSQRE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RkqjyimDhPw3r3SPOmu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PVO8lmQwC1ISVAMTz9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sq8vLUp9VgKrWleDKH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qMHB9GhV5j8vifsw6x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mvyS9fhMwxgi5JuTaa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2VgCl6ElHNw30ams0l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4JYP2nQxvIwXxOsBVq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XxueHpCV5clYhKAeT7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YhUGCWTLJvgwQxUtkM1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XbZWNsX9fRqcH8LO1Y5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nqwk6DVswoet6PyQjH_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wo1cQXib9rmdTOR.7Z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xwarp93mted3_ditY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I5M6dMfZuGoXa.E8x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355bCRqsR1Vsgbls3_j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WEuZQiJnqiNSraB4yZ2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F1.4knlfkJr_gNbAfJF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D7Dcz9qPc8p5Ycpz1S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BnC5hh1yFFBBhXJ99.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mh1b040Iqqq3u7lWVw8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6fs6BGbsQB5S_Pik66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dSKLJbSLeGlQceH1S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xDpL.jv005jYOYz301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KfirgOWXd0Hbn0YOSU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jr8wakiPXLbEqkowy4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uhevv2GaD8QwCfgQ2d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omYYzaScajyXGrRMC7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bLxCm0oSCwoZta.BtFt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qsVamzLdJDFEB7UcKQ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CS5O7ZVhVCIMyQKe9x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X3dOiqMZZBizbNow8J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1kmu5HkJ28Kd7.6D_C7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WexG.sS8amzuPeXyXI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ezoOQ6hYPZcmwm3E5KA"/>
</p:tagLst>
</file>

<file path=ppt/theme/theme1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DEADE8E3-4960-4B13-95A3-390B18082CE6}"/>
    </a:ext>
  </a:extLst>
</a:theme>
</file>

<file path=ppt/theme/theme2.xml><?xml version="1.0" encoding="utf-8"?>
<a:theme xmlns:a="http://schemas.openxmlformats.org/drawingml/2006/main" name="2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1682FD7D-6DF9-461F-A293-7AD46CB400A1}"/>
    </a:ext>
  </a:extLst>
</a:theme>
</file>

<file path=ppt/theme/theme3.xml><?xml version="1.0" encoding="utf-8"?>
<a:theme xmlns:a="http://schemas.openxmlformats.org/drawingml/2006/main" name="1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A9F995D5-4E81-4746-ABB1-2210CF912F38}"/>
    </a:ext>
  </a:extLst>
</a:theme>
</file>

<file path=ppt/theme/theme4.xml><?xml version="1.0" encoding="utf-8"?>
<a:theme xmlns:a="http://schemas.openxmlformats.org/drawingml/2006/main" name="3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A9F995D5-4E81-4746-ABB1-2210CF912F38}"/>
    </a:ext>
  </a:extLst>
</a:theme>
</file>

<file path=ppt/theme/theme5.xml><?xml version="1.0" encoding="utf-8"?>
<a:theme xmlns:a="http://schemas.openxmlformats.org/drawingml/2006/main" name="4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A9F995D5-4E81-4746-ABB1-2210CF912F38}"/>
    </a:ext>
  </a:extLst>
</a:theme>
</file>

<file path=ppt/theme/theme6.xml><?xml version="1.0" encoding="utf-8"?>
<a:theme xmlns:a="http://schemas.openxmlformats.org/drawingml/2006/main" name="5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1682FD7D-6DF9-461F-A293-7AD46CB400A1}"/>
    </a:ext>
  </a:extLst>
</a:theme>
</file>

<file path=ppt/theme/theme7.xml><?xml version="1.0" encoding="utf-8"?>
<a:theme xmlns:a="http://schemas.openxmlformats.org/drawingml/2006/main" name="6_Brugerdefinere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 til en - ny  -  Skrivebeskyttet" id="{679BD7B6-CBA5-4E1B-B2EC-DC83EAD3DAEB}" vid="{1682FD7D-6DF9-461F-A293-7AD46CB400A1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71D5F372CA5494887D8067F60903E63" ma:contentTypeVersion="11" ma:contentTypeDescription="Opret et nyt dokument." ma:contentTypeScope="" ma:versionID="57e62bbd9408144b7ece104cc40645da">
  <xsd:schema xmlns:xsd="http://www.w3.org/2001/XMLSchema" xmlns:xs="http://www.w3.org/2001/XMLSchema" xmlns:p="http://schemas.microsoft.com/office/2006/metadata/properties" xmlns:ns3="dca1a839-c1bb-4818-869c-1ecaac070325" xmlns:ns4="165f00a1-fa54-4003-a0b6-801d4364a6a4" targetNamespace="http://schemas.microsoft.com/office/2006/metadata/properties" ma:root="true" ma:fieldsID="aad23ea81ce712b19227a490658c3ccf" ns3:_="" ns4:_="">
    <xsd:import namespace="dca1a839-c1bb-4818-869c-1ecaac070325"/>
    <xsd:import namespace="165f00a1-fa54-4003-a0b6-801d4364a6a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a1a839-c1bb-4818-869c-1ecaac07032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værdi for deling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5f00a1-fa54-4003-a0b6-801d4364a6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8B3F5D2-AD3A-417A-9B34-A56731D9715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6039D52-CC7C-4430-8CC9-13B7A41427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6A55D7-7402-404D-94EE-32E312B9B2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a1a839-c1bb-4818-869c-1ecaac070325"/>
    <ds:schemaRef ds:uri="165f00a1-fa54-4003-a0b6-801d4364a6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1205 ÅLF styrelsesmøde</Template>
  <TotalTime>0</TotalTime>
  <Words>1568</Words>
  <Application>Microsoft Office PowerPoint</Application>
  <PresentationFormat>Widescreen</PresentationFormat>
  <Paragraphs>167</Paragraphs>
  <Slides>11</Slides>
  <Notes>5</Notes>
  <HiddenSlides>0</HiddenSlides>
  <MMClips>0</MMClips>
  <ScaleCrop>false</ScaleCrop>
  <HeadingPairs>
    <vt:vector size="4" baseType="variant">
      <vt:variant>
        <vt:lpstr>Tema</vt:lpstr>
      </vt:variant>
      <vt:variant>
        <vt:i4>7</vt:i4>
      </vt:variant>
      <vt:variant>
        <vt:lpstr>Slidetitler</vt:lpstr>
      </vt:variant>
      <vt:variant>
        <vt:i4>11</vt:i4>
      </vt:variant>
    </vt:vector>
  </HeadingPairs>
  <TitlesOfParts>
    <vt:vector size="18" baseType="lpstr">
      <vt:lpstr>Brugerdefineret design</vt:lpstr>
      <vt:lpstr>2_Brugerdefineret design</vt:lpstr>
      <vt:lpstr>1_Brugerdefineret design</vt:lpstr>
      <vt:lpstr>3_Brugerdefineret design</vt:lpstr>
      <vt:lpstr>4_Brugerdefineret design</vt:lpstr>
      <vt:lpstr>5_Brugerdefineret design</vt:lpstr>
      <vt:lpstr>6_Brugerdefineret desig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one Juric Sørensen</dc:creator>
  <cp:lastModifiedBy>Birgitte Mouritzen</cp:lastModifiedBy>
  <cp:revision>6</cp:revision>
  <dcterms:created xsi:type="dcterms:W3CDTF">2019-12-03T09:14:06Z</dcterms:created>
  <dcterms:modified xsi:type="dcterms:W3CDTF">2020-06-19T07:1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52ED6F3-133D-4E2F-BC6A-A66B38793468</vt:lpwstr>
  </property>
  <property fmtid="{D5CDD505-2E9C-101B-9397-08002B2CF9AE}" pid="3" name="ArticulatePath">
    <vt:lpwstr>Præsentation1</vt:lpwstr>
  </property>
  <property fmtid="{D5CDD505-2E9C-101B-9397-08002B2CF9AE}" pid="4" name="ContentTypeId">
    <vt:lpwstr>0x010100671D5F372CA5494887D8067F60903E63</vt:lpwstr>
  </property>
  <property fmtid="{D5CDD505-2E9C-101B-9397-08002B2CF9AE}" pid="5" name="BackOfficeType">
    <vt:lpwstr>growBusiness Solutions</vt:lpwstr>
  </property>
  <property fmtid="{D5CDD505-2E9C-101B-9397-08002B2CF9AE}" pid="6" name="Server">
    <vt:lpwstr>edoc:8080</vt:lpwstr>
  </property>
  <property fmtid="{D5CDD505-2E9C-101B-9397-08002B2CF9AE}" pid="7" name="Protocol">
    <vt:lpwstr>off</vt:lpwstr>
  </property>
  <property fmtid="{D5CDD505-2E9C-101B-9397-08002B2CF9AE}" pid="8" name="Site">
    <vt:lpwstr>/view.aspx</vt:lpwstr>
  </property>
  <property fmtid="{D5CDD505-2E9C-101B-9397-08002B2CF9AE}" pid="9" name="FileID">
    <vt:lpwstr>10040121</vt:lpwstr>
  </property>
  <property fmtid="{D5CDD505-2E9C-101B-9397-08002B2CF9AE}" pid="10" name="VerID">
    <vt:lpwstr>0</vt:lpwstr>
  </property>
  <property fmtid="{D5CDD505-2E9C-101B-9397-08002B2CF9AE}" pid="11" name="FilePath">
    <vt:lpwstr>\\SrvEdocPFi01\eDocUsers\work\adm\az00638</vt:lpwstr>
  </property>
  <property fmtid="{D5CDD505-2E9C-101B-9397-08002B2CF9AE}" pid="12" name="FileName">
    <vt:lpwstr>19-070000-4 Projektstatus og involveringsplan januar 2020 10040121_5817444_0.PPTX</vt:lpwstr>
  </property>
  <property fmtid="{D5CDD505-2E9C-101B-9397-08002B2CF9AE}" pid="13" name="FullFileName">
    <vt:lpwstr>\\SrvEdocPFi01\eDocUsers\work\adm\az00638\19-070000-4 Projektstatus og involveringsplan januar 2020 10040121_5817444_0.PPTX</vt:lpwstr>
  </property>
</Properties>
</file>